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notesSlides/notesSlide12.xml" ContentType="application/vnd.openxmlformats-officedocument.presentationml.notesSlide+xml"/>
  <Override PartName="/ppt/tags/tag41.xml" ContentType="application/vnd.openxmlformats-officedocument.presentationml.tags+xml"/>
  <Override PartName="/ppt/notesSlides/notesSlide13.xml" ContentType="application/vnd.openxmlformats-officedocument.presentationml.notesSlide+xml"/>
  <Override PartName="/ppt/tags/tag42.xml" ContentType="application/vnd.openxmlformats-officedocument.presentationml.tags+xml"/>
  <Override PartName="/ppt/notesSlides/notesSlide14.xml" ContentType="application/vnd.openxmlformats-officedocument.presentationml.notesSlide+xml"/>
  <Override PartName="/ppt/tags/tag43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45.xml" ContentType="application/vnd.openxmlformats-officedocument.presentationml.tags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4023" r:id="rId5"/>
  </p:sldMasterIdLst>
  <p:notesMasterIdLst>
    <p:notesMasterId r:id="rId32"/>
  </p:notesMasterIdLst>
  <p:handoutMasterIdLst>
    <p:handoutMasterId r:id="rId33"/>
  </p:handoutMasterIdLst>
  <p:sldIdLst>
    <p:sldId id="2147468980" r:id="rId6"/>
    <p:sldId id="365" r:id="rId7"/>
    <p:sldId id="2147468988" r:id="rId8"/>
    <p:sldId id="2147468916" r:id="rId9"/>
    <p:sldId id="2147468958" r:id="rId10"/>
    <p:sldId id="257" r:id="rId11"/>
    <p:sldId id="2147468981" r:id="rId12"/>
    <p:sldId id="2147468990" r:id="rId13"/>
    <p:sldId id="2147468920" r:id="rId14"/>
    <p:sldId id="2147469000" r:id="rId15"/>
    <p:sldId id="2147468985" r:id="rId16"/>
    <p:sldId id="2147468968" r:id="rId17"/>
    <p:sldId id="2147468966" r:id="rId18"/>
    <p:sldId id="2147468999" r:id="rId19"/>
    <p:sldId id="2145706293" r:id="rId20"/>
    <p:sldId id="2141411837" r:id="rId21"/>
    <p:sldId id="2147469001" r:id="rId22"/>
    <p:sldId id="2147377093" r:id="rId23"/>
    <p:sldId id="4253" r:id="rId24"/>
    <p:sldId id="4262" r:id="rId25"/>
    <p:sldId id="4245" r:id="rId26"/>
    <p:sldId id="4246" r:id="rId27"/>
    <p:sldId id="2145706294" r:id="rId28"/>
    <p:sldId id="4329" r:id="rId29"/>
    <p:sldId id="2141411833" r:id="rId30"/>
    <p:sldId id="2145706295" r:id="rId31"/>
  </p:sldIdLst>
  <p:sldSz cx="12192000" cy="6858000"/>
  <p:notesSz cx="6858000" cy="9144000"/>
  <p:embeddedFontLs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Fira Sans" panose="020B0503050000020004" pitchFamily="34" charset="0"/>
      <p:regular r:id="rId38"/>
      <p:bold r:id="rId39"/>
      <p:italic r:id="rId40"/>
      <p:boldItalic r:id="rId41"/>
    </p:embeddedFont>
    <p:embeddedFont>
      <p:font typeface="Fira Sans Light" panose="020B0403050000020004" pitchFamily="34" charset="0"/>
      <p:regular r:id="rId42"/>
      <p:italic r:id="rId43"/>
    </p:embeddedFont>
    <p:embeddedFont>
      <p:font typeface="Fira Sans Medium" panose="020B0603050000020004" pitchFamily="34" charset="0"/>
      <p:regular r:id="rId44"/>
      <p:italic r:id="rId45"/>
    </p:embeddedFont>
    <p:embeddedFont>
      <p:font typeface="Fira Sans Regular" panose="020B0604020202020204" charset="0"/>
      <p:regular r:id="rId46"/>
      <p:bold r:id="rId47"/>
      <p:italic r:id="rId48"/>
      <p:boldItalic r:id="rId49"/>
    </p:embeddedFont>
    <p:embeddedFont>
      <p:font typeface="Trebuchet MS" panose="020B0603020202020204" pitchFamily="34" charset="0"/>
      <p:regular r:id="rId50"/>
      <p:bold r:id="rId51"/>
      <p:italic r:id="rId52"/>
      <p:boldItalic r:id="rId53"/>
    </p:embeddedFont>
  </p:embeddedFontLst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4" userDrawn="1">
          <p15:clr>
            <a:srgbClr val="A4A3A4"/>
          </p15:clr>
        </p15:guide>
        <p15:guide id="2" pos="304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orient="horz" pos="3793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9" orient="horz" pos="504" userDrawn="1">
          <p15:clr>
            <a:srgbClr val="A4A3A4"/>
          </p15:clr>
        </p15:guide>
        <p15:guide id="12" orient="horz" pos="1651" userDrawn="1">
          <p15:clr>
            <a:srgbClr val="A4A3A4"/>
          </p15:clr>
        </p15:guide>
        <p15:guide id="13" orient="horz" pos="845" userDrawn="1">
          <p15:clr>
            <a:srgbClr val="A4A3A4"/>
          </p15:clr>
        </p15:guide>
        <p15:guide id="14" orient="horz" pos="3906" userDrawn="1">
          <p15:clr>
            <a:srgbClr val="A4A3A4"/>
          </p15:clr>
        </p15:guide>
        <p15:guide id="15" orient="horz" pos="20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46484FC-00C3-921A-3DF3-C5A8FD94357E}" name="Silvertand, Marc" initials="SM" userId="S::marc.silvertand@dsm.com::79212e5d-900c-4986-ab9c-26c49306f51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oyya, Beulah-Priyanka" initials="MB" lastIdx="3" clrIdx="6">
    <p:extLst>
      <p:ext uri="{19B8F6BF-5375-455C-9EA6-DF929625EA0E}">
        <p15:presenceInfo xmlns:p15="http://schemas.microsoft.com/office/powerpoint/2012/main" userId="S::Beulah-Priyanka.Moyya@dsm.com::e6b51d74-e473-4a7d-9911-1e93f8888a5b" providerId="AD"/>
      </p:ext>
    </p:extLst>
  </p:cmAuthor>
  <p:cmAuthor id="1" name="Gerzon, Carin" initials="GC" lastIdx="24" clrIdx="0">
    <p:extLst>
      <p:ext uri="{19B8F6BF-5375-455C-9EA6-DF929625EA0E}">
        <p15:presenceInfo xmlns:p15="http://schemas.microsoft.com/office/powerpoint/2012/main" userId="S-1-5-21-2573208799-187067640-1722879566-469061" providerId="AD"/>
      </p:ext>
    </p:extLst>
  </p:cmAuthor>
  <p:cmAuthor id="8" name="Kumar-Krishna-Pillai, Arun" initials="KKPA" lastIdx="2" clrIdx="7">
    <p:extLst>
      <p:ext uri="{19B8F6BF-5375-455C-9EA6-DF929625EA0E}">
        <p15:presenceInfo xmlns:p15="http://schemas.microsoft.com/office/powerpoint/2012/main" userId="S::Arun.Kumar-Krishna-Pillai@dsm.com::1797df9e-3b30-4106-824c-543d30efdb43" providerId="AD"/>
      </p:ext>
    </p:extLst>
  </p:cmAuthor>
  <p:cmAuthor id="2" name="Kroon, Caroline" initials="KC" lastIdx="16" clrIdx="1">
    <p:extLst>
      <p:ext uri="{19B8F6BF-5375-455C-9EA6-DF929625EA0E}">
        <p15:presenceInfo xmlns:p15="http://schemas.microsoft.com/office/powerpoint/2012/main" userId="S-1-5-21-2573208799-187067640-1722879566-6143" providerId="AD"/>
      </p:ext>
    </p:extLst>
  </p:cmAuthor>
  <p:cmAuthor id="3" name="Brouns, Ellis" initials="BE" lastIdx="10" clrIdx="2">
    <p:extLst>
      <p:ext uri="{19B8F6BF-5375-455C-9EA6-DF929625EA0E}">
        <p15:presenceInfo xmlns:p15="http://schemas.microsoft.com/office/powerpoint/2012/main" userId="S-1-5-21-2573208799-187067640-1722879566-480915" providerId="AD"/>
      </p:ext>
    </p:extLst>
  </p:cmAuthor>
  <p:cmAuthor id="4" name="Koolhoven, Liza" initials="KL" lastIdx="112" clrIdx="3">
    <p:extLst>
      <p:ext uri="{19B8F6BF-5375-455C-9EA6-DF929625EA0E}">
        <p15:presenceInfo xmlns:p15="http://schemas.microsoft.com/office/powerpoint/2012/main" userId="S-1-5-21-2573208799-187067640-1722879566-500762" providerId="AD"/>
      </p:ext>
    </p:extLst>
  </p:cmAuthor>
  <p:cmAuthor id="5" name="Koolhoven, Liza" initials="KL [2]" lastIdx="20" clrIdx="4">
    <p:extLst>
      <p:ext uri="{19B8F6BF-5375-455C-9EA6-DF929625EA0E}">
        <p15:presenceInfo xmlns:p15="http://schemas.microsoft.com/office/powerpoint/2012/main" userId="S::liza.koolhoven@dsm.com::0320a5cc-c1c6-4685-b126-8a7fdd6a50e5" providerId="AD"/>
      </p:ext>
    </p:extLst>
  </p:cmAuthor>
  <p:cmAuthor id="6" name="Anne de Weerd" initials="AdW" lastIdx="1" clrIdx="5">
    <p:extLst>
      <p:ext uri="{19B8F6BF-5375-455C-9EA6-DF929625EA0E}">
        <p15:presenceInfo xmlns:p15="http://schemas.microsoft.com/office/powerpoint/2012/main" userId="59cbfca0dd96c1e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203"/>
    <a:srgbClr val="218C7B"/>
    <a:srgbClr val="18858B"/>
    <a:srgbClr val="007E4B"/>
    <a:srgbClr val="45AC34"/>
    <a:srgbClr val="009FE3"/>
    <a:srgbClr val="FFFFFF"/>
    <a:srgbClr val="7B1F62"/>
    <a:srgbClr val="009B97"/>
    <a:srgbClr val="D0D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073DB0-BEEB-4610-84DE-CF281CCD5A49}" v="8" dt="2022-09-27T05:26:51.393"/>
  </p1510:revLst>
</p1510:revInfo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8" d="100"/>
          <a:sy n="98" d="100"/>
        </p:scale>
        <p:origin x="82" y="58"/>
      </p:cViewPr>
      <p:guideLst>
        <p:guide orient="horz" pos="984"/>
        <p:guide pos="304"/>
        <p:guide pos="7469"/>
        <p:guide orient="horz" pos="3793"/>
        <p:guide pos="3840"/>
        <p:guide orient="horz" pos="504"/>
        <p:guide orient="horz" pos="1651"/>
        <p:guide orient="horz" pos="845"/>
        <p:guide orient="horz" pos="3906"/>
        <p:guide orient="horz" pos="20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6.fntdata"/><Relationship Id="rId21" Type="http://schemas.openxmlformats.org/officeDocument/2006/relationships/slide" Target="slides/slide16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font" Target="fonts/font17.fntdata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font" Target="fonts/font8.fntdata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3" Type="http://schemas.openxmlformats.org/officeDocument/2006/relationships/font" Target="fonts/font20.fntdata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3.fntdata"/><Relationship Id="rId49" Type="http://schemas.openxmlformats.org/officeDocument/2006/relationships/font" Target="fonts/font16.fntdata"/><Relationship Id="rId57" Type="http://schemas.openxmlformats.org/officeDocument/2006/relationships/viewProps" Target="viewProps.xml"/><Relationship Id="rId61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11.fntdata"/><Relationship Id="rId52" Type="http://schemas.openxmlformats.org/officeDocument/2006/relationships/font" Target="fonts/font19.fntdata"/><Relationship Id="rId60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font" Target="fonts/font18.fntdata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5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55292397660819E-2"/>
          <c:y val="4.8619883040935667E-2"/>
          <c:w val="0.90797546012269936"/>
          <c:h val="0.91925465838509313"/>
        </c:manualLayout>
      </c:layout>
      <c:pie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238-477E-9168-5CCF98789425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4238-477E-9168-5CCF98789425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4-4238-477E-9168-5CCF98789425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6-4238-477E-9168-5CCF98789425}"/>
              </c:ext>
            </c:extLst>
          </c:dPt>
          <c:dPt>
            <c:idx val="4"/>
            <c:bubble3D val="0"/>
            <c:spPr>
              <a:solidFill>
                <a:srgbClr val="FFC00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8-4238-477E-9168-5CCF98789425}"/>
              </c:ext>
            </c:extLst>
          </c:dPt>
          <c:dPt>
            <c:idx val="5"/>
            <c:bubble3D val="0"/>
            <c:spPr>
              <a:solidFill>
                <a:srgbClr val="EE720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A-4238-477E-9168-5CCF98789425}"/>
              </c:ext>
            </c:extLst>
          </c:dPt>
          <c:dPt>
            <c:idx val="6"/>
            <c:bubble3D val="0"/>
            <c:spPr>
              <a:solidFill>
                <a:srgbClr val="7030A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C-4238-477E-9168-5CCF98789425}"/>
              </c:ext>
            </c:extLst>
          </c:dPt>
          <c:dPt>
            <c:idx val="7"/>
            <c:bubble3D val="0"/>
            <c:spPr>
              <a:solidFill>
                <a:srgbClr val="7B1F6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E-4238-477E-9168-5CCF98789425}"/>
              </c:ext>
            </c:extLst>
          </c:dPt>
          <c:dPt>
            <c:idx val="8"/>
            <c:bubble3D val="0"/>
            <c:spPr>
              <a:solidFill>
                <a:srgbClr val="007E4B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0-4238-477E-9168-5CCF98789425}"/>
              </c:ext>
            </c:extLst>
          </c:dPt>
          <c:dPt>
            <c:idx val="9"/>
            <c:bubble3D val="0"/>
            <c:spPr>
              <a:solidFill>
                <a:srgbClr val="F5792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2-4238-477E-9168-5CCF98789425}"/>
              </c:ext>
            </c:extLst>
          </c:dPt>
          <c:val>
            <c:numRef>
              <c:f>Sheet1!$B$2:$B$11</c:f>
              <c:numCache>
                <c:formatCode>General</c:formatCode>
                <c:ptCount val="10"/>
                <c:pt idx="0">
                  <c:v>0</c:v>
                </c:pt>
                <c:pt idx="1">
                  <c:v>4</c:v>
                </c:pt>
                <c:pt idx="2">
                  <c:v>2</c:v>
                </c:pt>
                <c:pt idx="3">
                  <c:v>28</c:v>
                </c:pt>
                <c:pt idx="4">
                  <c:v>21</c:v>
                </c:pt>
                <c:pt idx="5">
                  <c:v>13</c:v>
                </c:pt>
                <c:pt idx="6">
                  <c:v>13</c:v>
                </c:pt>
                <c:pt idx="7">
                  <c:v>16</c:v>
                </c:pt>
                <c:pt idx="8">
                  <c:v>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11</c15:sqref>
                        </c15:formulaRef>
                      </c:ext>
                    </c:extLst>
                    <c:numCache>
                      <c:formatCode>General</c:formatCode>
                      <c:ptCount val="10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13-4238-477E-9168-5CCF98789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61324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289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9525"/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CAE-4EDE-9FE5-AFACE958386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CAE-4EDE-9FE5-AFACE958386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CAE-4EDE-9FE5-AFACE958386F}"/>
              </c:ext>
            </c:extLst>
          </c:dPt>
          <c:dPt>
            <c:idx val="3"/>
            <c:bubble3D val="0"/>
            <c:spPr>
              <a:solidFill>
                <a:schemeClr val="accent3">
                  <a:lumMod val="7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CAE-4EDE-9FE5-AFACE958386F}"/>
              </c:ext>
            </c:extLst>
          </c:dPt>
          <c:dPt>
            <c:idx val="4"/>
            <c:bubble3D val="0"/>
            <c:spPr>
              <a:solidFill>
                <a:schemeClr val="accent4">
                  <a:lumMod val="7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CAE-4EDE-9FE5-AFACE958386F}"/>
              </c:ext>
            </c:extLst>
          </c:dPt>
          <c:dPt>
            <c:idx val="5"/>
            <c:bubble3D val="0"/>
            <c:spPr>
              <a:solidFill>
                <a:srgbClr val="007E4B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CAE-4EDE-9FE5-AFACE958386F}"/>
              </c:ext>
            </c:extLst>
          </c:dPt>
          <c:dPt>
            <c:idx val="6"/>
            <c:bubble3D val="0"/>
            <c:spPr>
              <a:solidFill>
                <a:schemeClr val="accent6">
                  <a:lumMod val="50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CAE-4EDE-9FE5-AFACE958386F}"/>
              </c:ext>
            </c:extLst>
          </c:dPt>
          <c:dPt>
            <c:idx val="7"/>
            <c:bubble3D val="0"/>
            <c:spPr>
              <a:solidFill>
                <a:srgbClr val="A8AD00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CAE-4EDE-9FE5-AFACE958386F}"/>
              </c:ext>
            </c:extLst>
          </c:dPt>
          <c:dPt>
            <c:idx val="8"/>
            <c:bubble3D val="0"/>
            <c:spPr>
              <a:solidFill>
                <a:srgbClr val="D0DF00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CAE-4EDE-9FE5-AFACE958386F}"/>
              </c:ext>
            </c:extLst>
          </c:dPt>
          <c:cat>
            <c:numRef>
              <c:f>Sheet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2</c:v>
                </c:pt>
                <c:pt idx="1">
                  <c:v>12</c:v>
                </c:pt>
                <c:pt idx="2">
                  <c:v>5</c:v>
                </c:pt>
                <c:pt idx="3">
                  <c:v>6</c:v>
                </c:pt>
                <c:pt idx="4">
                  <c:v>5</c:v>
                </c:pt>
                <c:pt idx="5">
                  <c:v>36</c:v>
                </c:pt>
                <c:pt idx="6">
                  <c:v>7</c:v>
                </c:pt>
                <c:pt idx="7">
                  <c:v>5</c:v>
                </c:pt>
                <c:pt idx="8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CAE-4EDE-9FE5-AFACE958386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7CAE-4EDE-9FE5-AFACE958386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7CAE-4EDE-9FE5-AFACE958386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A-7CAE-4EDE-9FE5-AFACE958386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C-7CAE-4EDE-9FE5-AFACE958386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E-7CAE-4EDE-9FE5-AFACE958386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0-7CAE-4EDE-9FE5-AFACE958386F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2-7CAE-4EDE-9FE5-AFACE958386F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4-7CAE-4EDE-9FE5-AFACE958386F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6-7CAE-4EDE-9FE5-AFACE958386F}"/>
              </c:ext>
            </c:extLst>
          </c:dPt>
          <c:cat>
            <c:numRef>
              <c:f>Sheet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7CAE-4EDE-9FE5-AFACE95838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ED05F98-8FE9-4C51-8F0A-394EF09012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1FD1A1-59D5-40C7-823F-56BE542DBB1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1C049C-A639-47B5-949D-51F799AC2066}" type="datetimeFigureOut">
              <a:rPr lang="en-GB" smtClean="0"/>
              <a:t>27/09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2C5951-2E22-4966-BEB0-91FE304B6E7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CE7350-9F92-44B0-B468-AC29821C54E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851C59-9121-4008-863D-396F74F34C1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232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ira Sans" panose="020B060402020202020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ira Sans" panose="020B0604020202020204" charset="0"/>
              </a:defRPr>
            </a:lvl1pPr>
          </a:lstStyle>
          <a:p>
            <a:fld id="{41FB43FB-DCDA-AE47-AEEB-A7052222BB2E}" type="datetimeFigureOut">
              <a:rPr lang="en-US" smtClean="0"/>
              <a:pPr/>
              <a:t>9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ira Sans" panose="020B060402020202020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ira Sans" panose="020B0604020202020204" charset="0"/>
              </a:defRPr>
            </a:lvl1pPr>
          </a:lstStyle>
          <a:p>
            <a:fld id="{FDEA1EC3-38D3-9F43-B1F0-97D892A72D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159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754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932950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25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95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E060212-912C-40EE-B049-35D8E9DCBA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7877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1714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80835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9750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20943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82731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8651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892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One of the top ranked and most exciting young teams in professional road cycling is known as Team DSM from 1st January 2021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Through this partnership DSM hopes to galvanize wider public action around the importance of the health of people and of the planet, in line with the company’s purpose-led, performance-driven strateg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Building on an existing innovation partnership over the past half-decade, Team DSM will continue to ‘Keep Challenging’ by taking their nutrition, equipment and personal care to a whole new level. DSM will support the Men’s, Women’s and Development programs equally to become the best that they can be – inside and ou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DSM and Team DSM will also undertake several joint activities, including amongst other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Develop and produce the team’s very own race apparel, in cooperation with technology partner </a:t>
            </a:r>
            <a:r>
              <a:rPr lang="en-US" sz="1200" b="0" i="0" kern="1200" err="1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Bioracer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, to set new standards in protective race wear that utilizes peak performance material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Develop personalized, sustainable sports nutrition for each rider using the latest scientific knowledge, data insights and ingredients, in cooperation with sports nutrition partner </a:t>
            </a:r>
            <a:r>
              <a:rPr lang="en-US" sz="1200" b="0" i="0" kern="1200" err="1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Sanas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Provide additional investment to increase the intensity of fully independent anti-doping testing in the team, executed by “</a:t>
            </a:r>
            <a:r>
              <a:rPr lang="en-US" sz="1200" b="0" i="0" kern="1200" err="1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Dopingautoriteit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” (Dutch NADO), according to WADA standard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2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36DC39-6421-4FD2-B7B9-2B7F9CF5621E}" type="slidenum">
              <a:rPr lang="nl-NL" altLang="nl-NL" smtClean="0"/>
              <a:pPr/>
              <a:t>2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163135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36DC39-6421-4FD2-B7B9-2B7F9CF5621E}" type="slidenum">
              <a:rPr lang="nl-NL" altLang="nl-NL" smtClean="0"/>
              <a:pPr/>
              <a:t>3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403249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3774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E060212-912C-40EE-B049-35D8E9DCBA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1303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1922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5384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4701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262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44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3EA9692-0ED5-484D-87E7-AB6028AFB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7063" y="4644811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6EAFA9-6F43-6C47-B02C-42F4DA83E1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37654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920366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Regular" panose="020B05030500000200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58008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ontent Slide 1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E6CAF7-AA7B-48CD-A4C0-07C7BA0B9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A08D57-1059-4625-84A3-FC9B186C1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0667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30FEF9-13C6-49AD-BADC-B222739050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316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30FEF9-13C6-49AD-BADC-B22273905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CC9449-DAE9-4B33-8F63-09E10883ED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auto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auto"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1CBB47-F02A-2346-8EA8-8352E7AFC2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97063" y="4644811"/>
            <a:ext cx="9694937" cy="221318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8F039EC-ED76-4766-8537-03B353F231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5DA9896-9655-46F6-A88D-087362D55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11555474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029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0144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ltGray"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8EBEAFB-93C3-074C-9906-1D124DCCA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5E17CF1-21EE-4F02-912D-E11EFDC99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708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25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455675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430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FBD3E-297D-4BC3-94BA-F7DADB32A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3028426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5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184746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17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2534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444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55782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2299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345" imgH="355" progId="TCLayout.ActiveDocument.1">
                  <p:embed/>
                </p:oleObj>
              </mc:Choice>
              <mc:Fallback>
                <p:oleObj name="think-cell Slide" r:id="rId17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2280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4025" r:id="rId2"/>
    <p:sldLayoutId id="2147483962" r:id="rId3"/>
    <p:sldLayoutId id="2147484037" r:id="rId4"/>
    <p:sldLayoutId id="2147484080" r:id="rId5"/>
    <p:sldLayoutId id="2147484082" r:id="rId6"/>
    <p:sldLayoutId id="2147484083" r:id="rId7"/>
    <p:sldLayoutId id="2147484084" r:id="rId8"/>
    <p:sldLayoutId id="2147484085" r:id="rId9"/>
    <p:sldLayoutId id="2147484086" r:id="rId10"/>
    <p:sldLayoutId id="2147484087" r:id="rId11"/>
    <p:sldLayoutId id="2147484088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2.png"/><Relationship Id="rId3" Type="http://schemas.openxmlformats.org/officeDocument/2006/relationships/tags" Target="../tags/tag27.xml"/><Relationship Id="rId7" Type="http://schemas.openxmlformats.org/officeDocument/2006/relationships/image" Target="../media/image9.jpeg"/><Relationship Id="rId12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jpeg"/><Relationship Id="rId11" Type="http://schemas.openxmlformats.org/officeDocument/2006/relationships/image" Target="../media/image7.emf"/><Relationship Id="rId5" Type="http://schemas.openxmlformats.org/officeDocument/2006/relationships/notesSlide" Target="../notesSlides/notesSlide1.xml"/><Relationship Id="rId10" Type="http://schemas.openxmlformats.org/officeDocument/2006/relationships/oleObject" Target="../embeddings/oleObject13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jpeg"/><Relationship Id="rId13" Type="http://schemas.openxmlformats.org/officeDocument/2006/relationships/image" Target="../media/image50.png"/><Relationship Id="rId18" Type="http://schemas.openxmlformats.org/officeDocument/2006/relationships/image" Target="../media/image79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88.jpeg"/><Relationship Id="rId12" Type="http://schemas.openxmlformats.org/officeDocument/2006/relationships/image" Target="../media/image7.emf"/><Relationship Id="rId17" Type="http://schemas.openxmlformats.org/officeDocument/2006/relationships/image" Target="../media/image78.png"/><Relationship Id="rId2" Type="http://schemas.openxmlformats.org/officeDocument/2006/relationships/tags" Target="../tags/tag36.xml"/><Relationship Id="rId16" Type="http://schemas.openxmlformats.org/officeDocument/2006/relationships/image" Target="../media/image65.svg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7.jpeg"/><Relationship Id="rId11" Type="http://schemas.openxmlformats.org/officeDocument/2006/relationships/oleObject" Target="../embeddings/oleObject19.bin"/><Relationship Id="rId5" Type="http://schemas.openxmlformats.org/officeDocument/2006/relationships/image" Target="../media/image86.jpeg"/><Relationship Id="rId15" Type="http://schemas.openxmlformats.org/officeDocument/2006/relationships/image" Target="../media/image64.png"/><Relationship Id="rId10" Type="http://schemas.microsoft.com/office/2007/relationships/hdphoto" Target="../media/hdphoto2.wdp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90.png"/><Relationship Id="rId14" Type="http://schemas.openxmlformats.org/officeDocument/2006/relationships/image" Target="../media/image51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1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9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100.png"/><Relationship Id="rId3" Type="http://schemas.openxmlformats.org/officeDocument/2006/relationships/tags" Target="../tags/tag39.xml"/><Relationship Id="rId7" Type="http://schemas.openxmlformats.org/officeDocument/2006/relationships/image" Target="../media/image94.emf"/><Relationship Id="rId12" Type="http://schemas.openxmlformats.org/officeDocument/2006/relationships/image" Target="../media/image99.png"/><Relationship Id="rId17" Type="http://schemas.openxmlformats.org/officeDocument/2006/relationships/image" Target="../media/image104.png"/><Relationship Id="rId2" Type="http://schemas.openxmlformats.org/officeDocument/2006/relationships/tags" Target="../tags/tag38.xml"/><Relationship Id="rId16" Type="http://schemas.openxmlformats.org/officeDocument/2006/relationships/image" Target="../media/image103.png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98.png"/><Relationship Id="rId5" Type="http://schemas.openxmlformats.org/officeDocument/2006/relationships/notesSlide" Target="../notesSlides/notesSlide10.xml"/><Relationship Id="rId15" Type="http://schemas.openxmlformats.org/officeDocument/2006/relationships/image" Target="../media/image102.png"/><Relationship Id="rId10" Type="http://schemas.openxmlformats.org/officeDocument/2006/relationships/image" Target="../media/image97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96.png"/><Relationship Id="rId14" Type="http://schemas.openxmlformats.org/officeDocument/2006/relationships/image" Target="../media/image10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114.png"/><Relationship Id="rId18" Type="http://schemas.openxmlformats.org/officeDocument/2006/relationships/image" Target="../media/image119.svg"/><Relationship Id="rId3" Type="http://schemas.openxmlformats.org/officeDocument/2006/relationships/image" Target="../media/image107.svg"/><Relationship Id="rId7" Type="http://schemas.openxmlformats.org/officeDocument/2006/relationships/image" Target="../media/image37.png"/><Relationship Id="rId12" Type="http://schemas.openxmlformats.org/officeDocument/2006/relationships/image" Target="../media/image113.svg"/><Relationship Id="rId17" Type="http://schemas.openxmlformats.org/officeDocument/2006/relationships/image" Target="../media/image118.png"/><Relationship Id="rId2" Type="http://schemas.openxmlformats.org/officeDocument/2006/relationships/image" Target="../media/image106.png"/><Relationship Id="rId16" Type="http://schemas.openxmlformats.org/officeDocument/2006/relationships/image" Target="../media/image117.sv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png"/><Relationship Id="rId11" Type="http://schemas.openxmlformats.org/officeDocument/2006/relationships/image" Target="../media/image112.png"/><Relationship Id="rId5" Type="http://schemas.openxmlformats.org/officeDocument/2006/relationships/image" Target="../media/image109.svg"/><Relationship Id="rId15" Type="http://schemas.openxmlformats.org/officeDocument/2006/relationships/image" Target="../media/image116.png"/><Relationship Id="rId10" Type="http://schemas.openxmlformats.org/officeDocument/2006/relationships/image" Target="../media/image111.svg"/><Relationship Id="rId4" Type="http://schemas.openxmlformats.org/officeDocument/2006/relationships/image" Target="../media/image108.png"/><Relationship Id="rId9" Type="http://schemas.openxmlformats.org/officeDocument/2006/relationships/image" Target="../media/image110.png"/><Relationship Id="rId14" Type="http://schemas.openxmlformats.org/officeDocument/2006/relationships/image" Target="../media/image11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2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1.jpeg"/><Relationship Id="rId5" Type="http://schemas.openxmlformats.org/officeDocument/2006/relationships/image" Target="../media/image120.emf"/><Relationship Id="rId4" Type="http://schemas.openxmlformats.org/officeDocument/2006/relationships/oleObject" Target="../embeddings/oleObject2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7" Type="http://schemas.openxmlformats.org/officeDocument/2006/relationships/image" Target="../media/image12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annualreport.dsm.com/ar2020/case-studies/making-animal-farming-more-sustainable.html#video" TargetMode="External"/><Relationship Id="rId5" Type="http://schemas.openxmlformats.org/officeDocument/2006/relationships/image" Target="../media/image125.jpeg"/><Relationship Id="rId4" Type="http://schemas.openxmlformats.org/officeDocument/2006/relationships/image" Target="../media/image124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jpeg"/><Relationship Id="rId13" Type="http://schemas.openxmlformats.org/officeDocument/2006/relationships/image" Target="../media/image133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27.png"/><Relationship Id="rId12" Type="http://schemas.openxmlformats.org/officeDocument/2006/relationships/image" Target="../media/image132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11" Type="http://schemas.openxmlformats.org/officeDocument/2006/relationships/image" Target="../media/image131.pn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30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29.png"/><Relationship Id="rId14" Type="http://schemas.openxmlformats.org/officeDocument/2006/relationships/image" Target="../media/image13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13" Type="http://schemas.openxmlformats.org/officeDocument/2006/relationships/image" Target="../media/image140.png"/><Relationship Id="rId18" Type="http://schemas.openxmlformats.org/officeDocument/2006/relationships/image" Target="../media/image14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35.png"/><Relationship Id="rId12" Type="http://schemas.openxmlformats.org/officeDocument/2006/relationships/image" Target="../media/image139.png"/><Relationship Id="rId17" Type="http://schemas.openxmlformats.org/officeDocument/2006/relationships/image" Target="../media/image144.png"/><Relationship Id="rId2" Type="http://schemas.openxmlformats.org/officeDocument/2006/relationships/tags" Target="../tags/tag42.xml"/><Relationship Id="rId16" Type="http://schemas.openxmlformats.org/officeDocument/2006/relationships/image" Target="../media/image143.png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11" Type="http://schemas.openxmlformats.org/officeDocument/2006/relationships/image" Target="../media/image138.png"/><Relationship Id="rId5" Type="http://schemas.openxmlformats.org/officeDocument/2006/relationships/oleObject" Target="../embeddings/oleObject24.bin"/><Relationship Id="rId15" Type="http://schemas.openxmlformats.org/officeDocument/2006/relationships/image" Target="../media/image142.png"/><Relationship Id="rId10" Type="http://schemas.openxmlformats.org/officeDocument/2006/relationships/image" Target="../media/image95.png"/><Relationship Id="rId19" Type="http://schemas.openxmlformats.org/officeDocument/2006/relationships/image" Target="../media/image146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37.png"/><Relationship Id="rId14" Type="http://schemas.openxmlformats.org/officeDocument/2006/relationships/image" Target="../media/image14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47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20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tags" Target="../tags/tag29.xml"/><Relationship Id="rId7" Type="http://schemas.openxmlformats.org/officeDocument/2006/relationships/image" Target="../media/image13.emf"/><Relationship Id="rId12" Type="http://schemas.openxmlformats.org/officeDocument/2006/relationships/image" Target="../media/image18.png"/><Relationship Id="rId2" Type="http://schemas.openxmlformats.org/officeDocument/2006/relationships/tags" Target="../tags/tag28.xml"/><Relationship Id="rId16" Type="http://schemas.openxmlformats.org/officeDocument/2006/relationships/image" Target="../media/image22.png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17.jpe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1.png"/><Relationship Id="rId10" Type="http://schemas.openxmlformats.org/officeDocument/2006/relationships/image" Target="../media/image16.emf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5.jpeg"/><Relationship Id="rId14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png"/><Relationship Id="rId13" Type="http://schemas.openxmlformats.org/officeDocument/2006/relationships/image" Target="../media/image159.svg"/><Relationship Id="rId3" Type="http://schemas.openxmlformats.org/officeDocument/2006/relationships/image" Target="../media/image149.svg"/><Relationship Id="rId7" Type="http://schemas.openxmlformats.org/officeDocument/2006/relationships/image" Target="../media/image153.svg"/><Relationship Id="rId12" Type="http://schemas.openxmlformats.org/officeDocument/2006/relationships/image" Target="../media/image158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2.png"/><Relationship Id="rId11" Type="http://schemas.openxmlformats.org/officeDocument/2006/relationships/image" Target="../media/image157.svg"/><Relationship Id="rId5" Type="http://schemas.openxmlformats.org/officeDocument/2006/relationships/image" Target="../media/image151.svg"/><Relationship Id="rId10" Type="http://schemas.openxmlformats.org/officeDocument/2006/relationships/image" Target="../media/image156.png"/><Relationship Id="rId4" Type="http://schemas.openxmlformats.org/officeDocument/2006/relationships/image" Target="../media/image150.png"/><Relationship Id="rId9" Type="http://schemas.openxmlformats.org/officeDocument/2006/relationships/image" Target="../media/image155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9.svg"/><Relationship Id="rId5" Type="http://schemas.openxmlformats.org/officeDocument/2006/relationships/image" Target="../media/image158.png"/><Relationship Id="rId4" Type="http://schemas.openxmlformats.org/officeDocument/2006/relationships/image" Target="../media/image149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50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20.em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157.sv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15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5.svg"/><Relationship Id="rId5" Type="http://schemas.openxmlformats.org/officeDocument/2006/relationships/image" Target="../media/image154.png"/><Relationship Id="rId4" Type="http://schemas.openxmlformats.org/officeDocument/2006/relationships/image" Target="../media/image153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20.emf"/><Relationship Id="rId4" Type="http://schemas.openxmlformats.org/officeDocument/2006/relationships/oleObject" Target="../embeddings/oleObject2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31.xml"/><Relationship Id="rId7" Type="http://schemas.openxmlformats.org/officeDocument/2006/relationships/image" Target="../media/image2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3.xml"/><Relationship Id="rId11" Type="http://schemas.openxmlformats.org/officeDocument/2006/relationships/chart" Target="../charts/chart2.xml"/><Relationship Id="rId5" Type="http://schemas.openxmlformats.org/officeDocument/2006/relationships/slideLayout" Target="../slideLayouts/slideLayout5.xml"/><Relationship Id="rId10" Type="http://schemas.openxmlformats.org/officeDocument/2006/relationships/chart" Target="../charts/chart1.xml"/><Relationship Id="rId4" Type="http://schemas.openxmlformats.org/officeDocument/2006/relationships/tags" Target="../tags/tag32.xml"/><Relationship Id="rId9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microsoft.com/office/2007/relationships/hdphoto" Target="../media/hdphoto1.wdp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jpeg"/><Relationship Id="rId2" Type="http://schemas.openxmlformats.org/officeDocument/2006/relationships/tags" Target="../tags/tag33.xml"/><Relationship Id="rId16" Type="http://schemas.openxmlformats.org/officeDocument/2006/relationships/image" Target="../media/image38.png"/><Relationship Id="rId20" Type="http://schemas.openxmlformats.org/officeDocument/2006/relationships/image" Target="../media/image42.jpe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1.png"/><Relationship Id="rId14" Type="http://schemas.openxmlformats.org/officeDocument/2006/relationships/image" Target="../media/image3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6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49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13" Type="http://schemas.openxmlformats.org/officeDocument/2006/relationships/image" Target="../media/image56.png"/><Relationship Id="rId18" Type="http://schemas.openxmlformats.org/officeDocument/2006/relationships/image" Target="../media/image61.svg"/><Relationship Id="rId26" Type="http://schemas.openxmlformats.org/officeDocument/2006/relationships/image" Target="../media/image69.svg"/><Relationship Id="rId39" Type="http://schemas.openxmlformats.org/officeDocument/2006/relationships/image" Target="../media/image82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64.png"/><Relationship Id="rId34" Type="http://schemas.openxmlformats.org/officeDocument/2006/relationships/image" Target="../media/image77.svg"/><Relationship Id="rId42" Type="http://schemas.openxmlformats.org/officeDocument/2006/relationships/image" Target="../media/image85.svg"/><Relationship Id="rId7" Type="http://schemas.openxmlformats.org/officeDocument/2006/relationships/image" Target="../media/image50.png"/><Relationship Id="rId12" Type="http://schemas.openxmlformats.org/officeDocument/2006/relationships/image" Target="../media/image55.svg"/><Relationship Id="rId17" Type="http://schemas.openxmlformats.org/officeDocument/2006/relationships/image" Target="../media/image60.png"/><Relationship Id="rId25" Type="http://schemas.openxmlformats.org/officeDocument/2006/relationships/image" Target="../media/image68.png"/><Relationship Id="rId33" Type="http://schemas.openxmlformats.org/officeDocument/2006/relationships/image" Target="../media/image76.png"/><Relationship Id="rId38" Type="http://schemas.openxmlformats.org/officeDocument/2006/relationships/image" Target="../media/image81.svg"/><Relationship Id="rId2" Type="http://schemas.openxmlformats.org/officeDocument/2006/relationships/tags" Target="../tags/tag35.xml"/><Relationship Id="rId16" Type="http://schemas.openxmlformats.org/officeDocument/2006/relationships/image" Target="../media/image59.svg"/><Relationship Id="rId20" Type="http://schemas.openxmlformats.org/officeDocument/2006/relationships/image" Target="../media/image63.svg"/><Relationship Id="rId29" Type="http://schemas.openxmlformats.org/officeDocument/2006/relationships/image" Target="../media/image72.png"/><Relationship Id="rId41" Type="http://schemas.openxmlformats.org/officeDocument/2006/relationships/image" Target="../media/image84.png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11" Type="http://schemas.openxmlformats.org/officeDocument/2006/relationships/image" Target="../media/image54.png"/><Relationship Id="rId24" Type="http://schemas.openxmlformats.org/officeDocument/2006/relationships/image" Target="../media/image67.svg"/><Relationship Id="rId32" Type="http://schemas.openxmlformats.org/officeDocument/2006/relationships/image" Target="../media/image75.svg"/><Relationship Id="rId37" Type="http://schemas.openxmlformats.org/officeDocument/2006/relationships/image" Target="../media/image80.png"/><Relationship Id="rId40" Type="http://schemas.openxmlformats.org/officeDocument/2006/relationships/image" Target="../media/image83.svg"/><Relationship Id="rId5" Type="http://schemas.openxmlformats.org/officeDocument/2006/relationships/oleObject" Target="../embeddings/oleObject18.bin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svg"/><Relationship Id="rId36" Type="http://schemas.openxmlformats.org/officeDocument/2006/relationships/image" Target="../media/image79.svg"/><Relationship Id="rId10" Type="http://schemas.openxmlformats.org/officeDocument/2006/relationships/image" Target="../media/image53.svg"/><Relationship Id="rId19" Type="http://schemas.openxmlformats.org/officeDocument/2006/relationships/image" Target="../media/image62.png"/><Relationship Id="rId31" Type="http://schemas.openxmlformats.org/officeDocument/2006/relationships/image" Target="../media/image74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52.png"/><Relationship Id="rId14" Type="http://schemas.openxmlformats.org/officeDocument/2006/relationships/image" Target="../media/image57.svg"/><Relationship Id="rId22" Type="http://schemas.openxmlformats.org/officeDocument/2006/relationships/image" Target="../media/image65.svg"/><Relationship Id="rId27" Type="http://schemas.openxmlformats.org/officeDocument/2006/relationships/image" Target="../media/image70.png"/><Relationship Id="rId30" Type="http://schemas.openxmlformats.org/officeDocument/2006/relationships/image" Target="../media/image73.svg"/><Relationship Id="rId35" Type="http://schemas.openxmlformats.org/officeDocument/2006/relationships/image" Target="../media/image7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77D82C38-491D-4CBB-AD57-0D953C57F19F}"/>
              </a:ext>
            </a:extLst>
          </p:cNvPr>
          <p:cNvSpPr/>
          <p:nvPr/>
        </p:nvSpPr>
        <p:spPr>
          <a:xfrm>
            <a:off x="5324353" y="0"/>
            <a:ext cx="6867647" cy="3773347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7" name="Picture 26" descr="A hand holding a globe&#10;&#10;Description automatically generated with low confidence">
            <a:extLst>
              <a:ext uri="{FF2B5EF4-FFF2-40B4-BE49-F238E27FC236}">
                <a16:creationId xmlns:a16="http://schemas.microsoft.com/office/drawing/2014/main" id="{4C238B4B-BB4C-4A5F-B33B-4AC471A3BA5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90"/>
            <a:ext cx="5314707" cy="6859990"/>
          </a:xfrm>
          <a:prstGeom prst="rect">
            <a:avLst/>
          </a:prstGeom>
          <a:ln>
            <a:noFill/>
          </a:ln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E361E556-0BA9-4D8C-9A64-789CC70911F3}"/>
              </a:ext>
            </a:extLst>
          </p:cNvPr>
          <p:cNvSpPr/>
          <p:nvPr/>
        </p:nvSpPr>
        <p:spPr>
          <a:xfrm>
            <a:off x="8758177" y="3709343"/>
            <a:ext cx="3433823" cy="3148657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E2B42A5-CDD8-4C4E-BFAC-AB41E045D512}"/>
              </a:ext>
            </a:extLst>
          </p:cNvPr>
          <p:cNvSpPr/>
          <p:nvPr/>
        </p:nvSpPr>
        <p:spPr>
          <a:xfrm flipH="1">
            <a:off x="5324353" y="3709343"/>
            <a:ext cx="3433823" cy="3148657"/>
          </a:xfrm>
          <a:prstGeom prst="rect">
            <a:avLst/>
          </a:prstGeom>
          <a:blipFill dpi="0" rotWithShape="0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AE119B-FD59-4A1B-B30E-9023E96346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0" imgW="429" imgH="429" progId="TCLayout.ActiveDocument.1">
                  <p:embed/>
                </p:oleObj>
              </mc:Choice>
              <mc:Fallback>
                <p:oleObj name="think-cell Slide" r:id="rId10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AE119B-FD59-4A1B-B30E-9023E9634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96C5EB1-AB13-42C6-BC7C-AC25539916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 Medium" panose="020B0603050000020004" pitchFamily="34" charset="0"/>
              <a:ea typeface="+mn-ea"/>
              <a:cs typeface="+mn-cs"/>
              <a:sym typeface="Fira Sans Medium" panose="020B06030500000200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977156A-6BC0-4434-8C0C-BFCE2D53F480}"/>
              </a:ext>
            </a:extLst>
          </p:cNvPr>
          <p:cNvGrpSpPr/>
          <p:nvPr/>
        </p:nvGrpSpPr>
        <p:grpSpPr>
          <a:xfrm>
            <a:off x="5324353" y="-1990"/>
            <a:ext cx="6867647" cy="6859990"/>
            <a:chOff x="5324353" y="-1990"/>
            <a:chExt cx="6867647" cy="6859990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5F7471D3-A57B-4723-805A-4F6C2A0D2E8B}"/>
                </a:ext>
              </a:extLst>
            </p:cNvPr>
            <p:cNvCxnSpPr/>
            <p:nvPr/>
          </p:nvCxnSpPr>
          <p:spPr>
            <a:xfrm>
              <a:off x="5324353" y="-1990"/>
              <a:ext cx="0" cy="685999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CA5E0B9-7320-473B-9B14-F9AA7788FD13}"/>
                </a:ext>
              </a:extLst>
            </p:cNvPr>
            <p:cNvCxnSpPr>
              <a:cxnSpLocks/>
            </p:cNvCxnSpPr>
            <p:nvPr/>
          </p:nvCxnSpPr>
          <p:spPr>
            <a:xfrm>
              <a:off x="8776238" y="3709343"/>
              <a:ext cx="0" cy="3148657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9F6FB9F1-3986-479A-9D6B-BD3447FDD0E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63000" y="269701"/>
              <a:ext cx="0" cy="685800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73F476C1-FC38-4176-B615-E7D7A5282FA0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7063" y="4644811"/>
            <a:ext cx="9694937" cy="2213189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2151581C-D925-4F97-8FDF-66ED54DA7C5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Title 35">
            <a:extLst>
              <a:ext uri="{FF2B5EF4-FFF2-40B4-BE49-F238E27FC236}">
                <a16:creationId xmlns:a16="http://schemas.microsoft.com/office/drawing/2014/main" id="{3FA27E2A-D3C0-46BB-BD63-8117ED937B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000"/>
              <a:t>Royal DSM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265B7099-3571-4F81-A413-4E05858B90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2088000"/>
            <a:ext cx="4238829" cy="1184940"/>
          </a:xfrm>
        </p:spPr>
        <p:txBody>
          <a:bodyPr/>
          <a:lstStyle/>
          <a:p>
            <a:r>
              <a:rPr lang="en-US"/>
              <a:t>A global purpose-led </a:t>
            </a:r>
          </a:p>
          <a:p>
            <a:r>
              <a:rPr lang="en-US"/>
              <a:t>science-based leader in </a:t>
            </a:r>
          </a:p>
          <a:p>
            <a:r>
              <a:rPr lang="en-US"/>
              <a:t>Health, Nutrition &amp; Bioscien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05400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: Top Corners Rounded 137">
            <a:extLst>
              <a:ext uri="{FF2B5EF4-FFF2-40B4-BE49-F238E27FC236}">
                <a16:creationId xmlns:a16="http://schemas.microsoft.com/office/drawing/2014/main" id="{CA479E8C-E7E4-4367-A6ED-08278BE0E223}"/>
              </a:ext>
            </a:extLst>
          </p:cNvPr>
          <p:cNvSpPr/>
          <p:nvPr/>
        </p:nvSpPr>
        <p:spPr>
          <a:xfrm>
            <a:off x="4265978" y="1324647"/>
            <a:ext cx="3657600" cy="1870247"/>
          </a:xfrm>
          <a:prstGeom prst="round2SameRect">
            <a:avLst>
              <a:gd name="adj1" fmla="val 11461"/>
              <a:gd name="adj2" fmla="val 0"/>
            </a:avLst>
          </a:prstGeom>
          <a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3C2CF49E-8248-4765-AAC0-2780838DBC65}"/>
              </a:ext>
            </a:extLst>
          </p:cNvPr>
          <p:cNvSpPr/>
          <p:nvPr/>
        </p:nvSpPr>
        <p:spPr>
          <a:xfrm>
            <a:off x="4265978" y="3194893"/>
            <a:ext cx="3657600" cy="1880409"/>
          </a:xfrm>
          <a:prstGeom prst="rect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B47B64-7187-4119-B17E-982650EB75ED}"/>
              </a:ext>
            </a:extLst>
          </p:cNvPr>
          <p:cNvSpPr/>
          <p:nvPr/>
        </p:nvSpPr>
        <p:spPr>
          <a:xfrm>
            <a:off x="421211" y="3194895"/>
            <a:ext cx="3657600" cy="1872000"/>
          </a:xfrm>
          <a:prstGeom prst="rect">
            <a:avLst/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135" name="Rectangle: Top Corners Rounded 134">
            <a:extLst>
              <a:ext uri="{FF2B5EF4-FFF2-40B4-BE49-F238E27FC236}">
                <a16:creationId xmlns:a16="http://schemas.microsoft.com/office/drawing/2014/main" id="{34022416-C3F5-4076-BACC-EFA5F3CFEE20}"/>
              </a:ext>
            </a:extLst>
          </p:cNvPr>
          <p:cNvSpPr/>
          <p:nvPr/>
        </p:nvSpPr>
        <p:spPr>
          <a:xfrm>
            <a:off x="421211" y="1324646"/>
            <a:ext cx="3657600" cy="1872000"/>
          </a:xfrm>
          <a:prstGeom prst="round2SameRect">
            <a:avLst>
              <a:gd name="adj1" fmla="val 9943"/>
              <a:gd name="adj2" fmla="val 0"/>
            </a:avLst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"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53732AE4-D28A-44FD-8B63-5283A3A22CAF}"/>
              </a:ext>
            </a:extLst>
          </p:cNvPr>
          <p:cNvSpPr txBox="1"/>
          <p:nvPr/>
        </p:nvSpPr>
        <p:spPr>
          <a:xfrm>
            <a:off x="918000" y="2698096"/>
            <a:ext cx="2664022" cy="461665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/>
            <a:r>
              <a:rPr lang="en-US" sz="1200">
                <a:solidFill>
                  <a:schemeClr val="accent4"/>
                </a:solidFill>
                <a:highlight>
                  <a:srgbClr val="FFFFFF"/>
                </a:highlight>
              </a:rPr>
              <a:t>Closing the micronutrient gap for 800 MILLION PEOPLE by 2030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0DA8DBD1-0602-47FC-91E7-F2D888FCB61B}"/>
              </a:ext>
            </a:extLst>
          </p:cNvPr>
          <p:cNvSpPr txBox="1"/>
          <p:nvPr/>
        </p:nvSpPr>
        <p:spPr>
          <a:xfrm>
            <a:off x="764700" y="4555294"/>
            <a:ext cx="297062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200">
                <a:solidFill>
                  <a:schemeClr val="accent4"/>
                </a:solidFill>
                <a:highlight>
                  <a:srgbClr val="FFFFFF"/>
                </a:highlight>
              </a:rPr>
              <a:t>Supporting the immunity of </a:t>
            </a:r>
          </a:p>
          <a:p>
            <a:pPr algn="ctr"/>
            <a:r>
              <a:rPr lang="en-US" sz="1200">
                <a:solidFill>
                  <a:schemeClr val="accent4"/>
                </a:solidFill>
                <a:highlight>
                  <a:srgbClr val="FFFFFF"/>
                </a:highlight>
              </a:rPr>
              <a:t>500 MILLION PEOPLE by 2030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BAC237C-9C1E-479D-AB81-C05B13FC9748}"/>
              </a:ext>
            </a:extLst>
          </p:cNvPr>
          <p:cNvSpPr txBox="1"/>
          <p:nvPr/>
        </p:nvSpPr>
        <p:spPr>
          <a:xfrm>
            <a:off x="4639377" y="2698096"/>
            <a:ext cx="2910802" cy="461665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/>
            <a:r>
              <a:rPr lang="en-US" sz="1200">
                <a:solidFill>
                  <a:schemeClr val="accent4"/>
                </a:solidFill>
                <a:highlight>
                  <a:srgbClr val="FFFFFF"/>
                </a:highlight>
              </a:rPr>
              <a:t>DOUBLE DIGITS on-farm livestock emissions reduction by 2030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75E61E7E-1FFE-4340-B82D-5071DD6A21CF}"/>
              </a:ext>
            </a:extLst>
          </p:cNvPr>
          <p:cNvSpPr txBox="1"/>
          <p:nvPr/>
        </p:nvSpPr>
        <p:spPr>
          <a:xfrm>
            <a:off x="4523874" y="4553339"/>
            <a:ext cx="3141808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200">
                <a:solidFill>
                  <a:schemeClr val="accent4"/>
                </a:solidFill>
                <a:highlight>
                  <a:srgbClr val="FFFFFF"/>
                </a:highlight>
              </a:rPr>
              <a:t>Reaching 150 MILLION PEOPLE with solutions for plant-based foods by 2030</a:t>
            </a:r>
          </a:p>
        </p:txBody>
      </p:sp>
      <p:sp>
        <p:nvSpPr>
          <p:cNvPr id="133" name="Rectangle: Top Corners Rounded 132">
            <a:extLst>
              <a:ext uri="{FF2B5EF4-FFF2-40B4-BE49-F238E27FC236}">
                <a16:creationId xmlns:a16="http://schemas.microsoft.com/office/drawing/2014/main" id="{73CB21D8-178F-4613-B8BE-7CCDBBAA0829}"/>
              </a:ext>
            </a:extLst>
          </p:cNvPr>
          <p:cNvSpPr/>
          <p:nvPr/>
        </p:nvSpPr>
        <p:spPr>
          <a:xfrm>
            <a:off x="8110946" y="1324648"/>
            <a:ext cx="3657600" cy="3727443"/>
          </a:xfrm>
          <a:prstGeom prst="round2SameRect">
            <a:avLst>
              <a:gd name="adj1" fmla="val 7191"/>
              <a:gd name="adj2" fmla="val 0"/>
            </a:avLst>
          </a:prstGeom>
          <a:blipFill>
            <a:blip r:embed="rId9" cstate="hq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11" imgW="429" imgH="429" progId="TCLayout.ActiveDocument.1">
                  <p:embed/>
                </p:oleObj>
              </mc:Choice>
              <mc:Fallback>
                <p:oleObj name="think-cell Slide" r:id="rId11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/>
              <a:t>Caring for the world through our food system commitments</a:t>
            </a:r>
          </a:p>
        </p:txBody>
      </p:sp>
      <p:sp>
        <p:nvSpPr>
          <p:cNvPr id="102" name="Slide Number Placeholder 2">
            <a:extLst>
              <a:ext uri="{FF2B5EF4-FFF2-40B4-BE49-F238E27FC236}">
                <a16:creationId xmlns:a16="http://schemas.microsoft.com/office/drawing/2014/main" id="{DFC4D7D5-BFDD-49CD-9977-361EAA288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7B30AD-4D6A-457B-8522-006DD9162A99}"/>
              </a:ext>
            </a:extLst>
          </p:cNvPr>
          <p:cNvGrpSpPr/>
          <p:nvPr/>
        </p:nvGrpSpPr>
        <p:grpSpPr>
          <a:xfrm>
            <a:off x="4266179" y="1324649"/>
            <a:ext cx="3657600" cy="4418646"/>
            <a:chOff x="4266179" y="1324649"/>
            <a:chExt cx="3657600" cy="4418646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03007046-08DF-489C-87DD-640F466C4B42}"/>
                </a:ext>
              </a:extLst>
            </p:cNvPr>
            <p:cNvSpPr/>
            <p:nvPr/>
          </p:nvSpPr>
          <p:spPr>
            <a:xfrm>
              <a:off x="4266179" y="1324649"/>
              <a:ext cx="3657600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rgbClr val="45AC3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: Top Corners Rounded 26">
              <a:extLst>
                <a:ext uri="{FF2B5EF4-FFF2-40B4-BE49-F238E27FC236}">
                  <a16:creationId xmlns:a16="http://schemas.microsoft.com/office/drawing/2014/main" id="{B1E70605-4BFA-497A-BFCE-904C30F571FE}"/>
                </a:ext>
              </a:extLst>
            </p:cNvPr>
            <p:cNvSpPr/>
            <p:nvPr/>
          </p:nvSpPr>
          <p:spPr>
            <a:xfrm>
              <a:off x="4266179" y="5063698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rgbClr val="45AC34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Health for Planet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2C7636C-386B-4902-A1C6-5F71F2FE7D73}"/>
                </a:ext>
              </a:extLst>
            </p:cNvPr>
            <p:cNvGrpSpPr/>
            <p:nvPr/>
          </p:nvGrpSpPr>
          <p:grpSpPr>
            <a:xfrm>
              <a:off x="7192670" y="5090446"/>
              <a:ext cx="626099" cy="626099"/>
              <a:chOff x="7246829" y="5331076"/>
              <a:chExt cx="626099" cy="626099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F59B7DC4-C9A9-4506-8D04-64F75F6FD62D}"/>
                  </a:ext>
                </a:extLst>
              </p:cNvPr>
              <p:cNvSpPr/>
              <p:nvPr/>
            </p:nvSpPr>
            <p:spPr>
              <a:xfrm>
                <a:off x="7295525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70" name="Graphic 69" descr="Earth globe: Americas with solid fill">
                <a:extLst>
                  <a:ext uri="{FF2B5EF4-FFF2-40B4-BE49-F238E27FC236}">
                    <a16:creationId xmlns:a16="http://schemas.microsoft.com/office/drawing/2014/main" id="{EE7FB748-E941-4555-BED0-D092F7FD18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246829" y="5331076"/>
                <a:ext cx="626099" cy="626099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1AEDE6D-9232-419C-8CDB-959D09937C64}"/>
              </a:ext>
            </a:extLst>
          </p:cNvPr>
          <p:cNvGrpSpPr/>
          <p:nvPr/>
        </p:nvGrpSpPr>
        <p:grpSpPr>
          <a:xfrm>
            <a:off x="421411" y="1324649"/>
            <a:ext cx="3657600" cy="4407039"/>
            <a:chOff x="421411" y="1324649"/>
            <a:chExt cx="3657600" cy="4407039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4D42BD4E-BD12-44EE-AB3C-64AC2E479275}"/>
                </a:ext>
              </a:extLst>
            </p:cNvPr>
            <p:cNvSpPr/>
            <p:nvPr/>
          </p:nvSpPr>
          <p:spPr>
            <a:xfrm>
              <a:off x="421411" y="1324649"/>
              <a:ext cx="3657600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Rectangle: Top Corners Rounded 73">
              <a:extLst>
                <a:ext uri="{FF2B5EF4-FFF2-40B4-BE49-F238E27FC236}">
                  <a16:creationId xmlns:a16="http://schemas.microsoft.com/office/drawing/2014/main" id="{8DD0196E-1491-471F-BDB7-7F554E6DE587}"/>
                </a:ext>
              </a:extLst>
            </p:cNvPr>
            <p:cNvSpPr/>
            <p:nvPr/>
          </p:nvSpPr>
          <p:spPr>
            <a:xfrm>
              <a:off x="421411" y="5052091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Health for People</a:t>
              </a: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191B2F83-0EBD-4D44-80F3-40D1A9D33E36}"/>
                </a:ext>
              </a:extLst>
            </p:cNvPr>
            <p:cNvGrpSpPr/>
            <p:nvPr/>
          </p:nvGrpSpPr>
          <p:grpSpPr>
            <a:xfrm>
              <a:off x="3346472" y="5139142"/>
              <a:ext cx="528709" cy="528709"/>
              <a:chOff x="3375027" y="5379772"/>
              <a:chExt cx="528709" cy="528709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563B536A-B997-437C-B696-E336D3A5EF4B}"/>
                  </a:ext>
                </a:extLst>
              </p:cNvPr>
              <p:cNvSpPr/>
              <p:nvPr/>
            </p:nvSpPr>
            <p:spPr>
              <a:xfrm>
                <a:off x="3375027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11" name="Graphic 110" descr="Family with two children with solid fill">
                <a:extLst>
                  <a:ext uri="{FF2B5EF4-FFF2-40B4-BE49-F238E27FC236}">
                    <a16:creationId xmlns:a16="http://schemas.microsoft.com/office/drawing/2014/main" id="{EA2BEF02-BE94-414E-B0A0-F58BA3E867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3392593" y="5379772"/>
                <a:ext cx="493577" cy="493577"/>
              </a:xfrm>
              <a:prstGeom prst="rect">
                <a:avLst/>
              </a:prstGeom>
            </p:spPr>
          </p:pic>
          <p:sp>
            <p:nvSpPr>
              <p:cNvPr id="112" name="Chord 111">
                <a:extLst>
                  <a:ext uri="{FF2B5EF4-FFF2-40B4-BE49-F238E27FC236}">
                    <a16:creationId xmlns:a16="http://schemas.microsoft.com/office/drawing/2014/main" id="{5CCD24FE-598D-4CD4-AB0D-0530A2788D7E}"/>
                  </a:ext>
                </a:extLst>
              </p:cNvPr>
              <p:cNvSpPr/>
              <p:nvPr/>
            </p:nvSpPr>
            <p:spPr>
              <a:xfrm>
                <a:off x="3375027" y="5379772"/>
                <a:ext cx="528709" cy="528709"/>
              </a:xfrm>
              <a:prstGeom prst="chord">
                <a:avLst>
                  <a:gd name="adj1" fmla="val 1842146"/>
                  <a:gd name="adj2" fmla="val 8868556"/>
                </a:avLst>
              </a:prstGeom>
              <a:solidFill>
                <a:schemeClr val="accent2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14DAC69-E8E3-4B20-9DB3-66138AB90C18}"/>
              </a:ext>
            </a:extLst>
          </p:cNvPr>
          <p:cNvGrpSpPr/>
          <p:nvPr/>
        </p:nvGrpSpPr>
        <p:grpSpPr>
          <a:xfrm>
            <a:off x="8110946" y="1324649"/>
            <a:ext cx="3657800" cy="4407039"/>
            <a:chOff x="8110946" y="1324649"/>
            <a:chExt cx="3657800" cy="4407039"/>
          </a:xfrm>
        </p:grpSpPr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244849D7-7C37-47A4-8706-3738828E8821}"/>
                </a:ext>
              </a:extLst>
            </p:cNvPr>
            <p:cNvSpPr/>
            <p:nvPr/>
          </p:nvSpPr>
          <p:spPr>
            <a:xfrm>
              <a:off x="8110946" y="1324649"/>
              <a:ext cx="3657600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rgbClr val="BD0A7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15" name="Rectangle: Top Corners Rounded 114">
              <a:extLst>
                <a:ext uri="{FF2B5EF4-FFF2-40B4-BE49-F238E27FC236}">
                  <a16:creationId xmlns:a16="http://schemas.microsoft.com/office/drawing/2014/main" id="{35D2FF28-7771-487D-A526-0CE0425761AF}"/>
                </a:ext>
              </a:extLst>
            </p:cNvPr>
            <p:cNvSpPr/>
            <p:nvPr/>
          </p:nvSpPr>
          <p:spPr>
            <a:xfrm>
              <a:off x="8111146" y="5052091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rgbClr val="BD0A79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Healthy Livelihoods</a:t>
              </a: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4DCE56B-469B-444D-9454-57EA9C8EB075}"/>
                </a:ext>
              </a:extLst>
            </p:cNvPr>
            <p:cNvGrpSpPr/>
            <p:nvPr/>
          </p:nvGrpSpPr>
          <p:grpSpPr>
            <a:xfrm>
              <a:off x="11064268" y="5139142"/>
              <a:ext cx="528709" cy="528709"/>
              <a:chOff x="11152560" y="5379772"/>
              <a:chExt cx="528709" cy="528709"/>
            </a:xfrm>
          </p:grpSpPr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0077B93C-60A6-4CCB-B7EE-FE11C33BC601}"/>
                  </a:ext>
                </a:extLst>
              </p:cNvPr>
              <p:cNvSpPr/>
              <p:nvPr/>
            </p:nvSpPr>
            <p:spPr>
              <a:xfrm>
                <a:off x="11152560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Chord 127">
                <a:extLst>
                  <a:ext uri="{FF2B5EF4-FFF2-40B4-BE49-F238E27FC236}">
                    <a16:creationId xmlns:a16="http://schemas.microsoft.com/office/drawing/2014/main" id="{D78D7F14-8259-47F6-8EF3-EC36C485A144}"/>
                  </a:ext>
                </a:extLst>
              </p:cNvPr>
              <p:cNvSpPr/>
              <p:nvPr/>
            </p:nvSpPr>
            <p:spPr>
              <a:xfrm>
                <a:off x="11152560" y="5379772"/>
                <a:ext cx="528709" cy="528709"/>
              </a:xfrm>
              <a:prstGeom prst="chord">
                <a:avLst>
                  <a:gd name="adj1" fmla="val 1842146"/>
                  <a:gd name="adj2" fmla="val 8868556"/>
                </a:avLst>
              </a:prstGeom>
              <a:solidFill>
                <a:srgbClr val="BD0A79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19" name="Graphic 118" descr="Farmer female with solid fill">
              <a:extLst>
                <a:ext uri="{FF2B5EF4-FFF2-40B4-BE49-F238E27FC236}">
                  <a16:creationId xmlns:a16="http://schemas.microsoft.com/office/drawing/2014/main" id="{0DEF66CF-E452-4A17-A0EA-3F079280D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1123678" y="5170940"/>
              <a:ext cx="429979" cy="429979"/>
            </a:xfrm>
            <a:prstGeom prst="rect">
              <a:avLst/>
            </a:prstGeom>
          </p:spPr>
        </p:pic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id="{AA488222-881F-48F0-81D3-EF7221606B99}"/>
              </a:ext>
            </a:extLst>
          </p:cNvPr>
          <p:cNvSpPr txBox="1"/>
          <p:nvPr/>
        </p:nvSpPr>
        <p:spPr>
          <a:xfrm>
            <a:off x="8250646" y="4555294"/>
            <a:ext cx="33782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200">
                <a:solidFill>
                  <a:schemeClr val="accent4"/>
                </a:solidFill>
                <a:highlight>
                  <a:srgbClr val="FFFFFF"/>
                </a:highlight>
              </a:rPr>
              <a:t>Supporting the livelihoods of 500,000 </a:t>
            </a:r>
          </a:p>
          <a:p>
            <a:pPr algn="ctr"/>
            <a:r>
              <a:rPr lang="en-US" sz="1200">
                <a:solidFill>
                  <a:schemeClr val="accent4"/>
                </a:solidFill>
                <a:highlight>
                  <a:srgbClr val="FFFFFF"/>
                </a:highlight>
              </a:rPr>
              <a:t>SMALLHOLDER FARMERS by 203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A10EAA2-7A63-4BE0-B71F-1B559CF7B420}"/>
              </a:ext>
            </a:extLst>
          </p:cNvPr>
          <p:cNvCxnSpPr>
            <a:cxnSpLocks/>
          </p:cNvCxnSpPr>
          <p:nvPr/>
        </p:nvCxnSpPr>
        <p:spPr>
          <a:xfrm>
            <a:off x="4265978" y="3194893"/>
            <a:ext cx="3657600" cy="0"/>
          </a:xfrm>
          <a:prstGeom prst="line">
            <a:avLst/>
          </a:prstGeom>
          <a:ln w="28575">
            <a:solidFill>
              <a:srgbClr val="45AC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FA3B2F6B-58FC-4058-B2CB-A2B4BD7A3C20}"/>
              </a:ext>
            </a:extLst>
          </p:cNvPr>
          <p:cNvCxnSpPr>
            <a:cxnSpLocks/>
          </p:cNvCxnSpPr>
          <p:nvPr/>
        </p:nvCxnSpPr>
        <p:spPr>
          <a:xfrm>
            <a:off x="421211" y="3197853"/>
            <a:ext cx="3657600" cy="0"/>
          </a:xfrm>
          <a:prstGeom prst="line">
            <a:avLst/>
          </a:prstGeom>
          <a:ln w="28575">
            <a:solidFill>
              <a:srgbClr val="009F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361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/>
              <a:t>Three Business Groups with clear end-market orientation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C6CC3D-E793-452C-8832-75F1C2850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71" name="Slide Number Placeholder 4">
            <a:extLst>
              <a:ext uri="{FF2B5EF4-FFF2-40B4-BE49-F238E27FC236}">
                <a16:creationId xmlns:a16="http://schemas.microsoft.com/office/drawing/2014/main" id="{EA82033D-7011-4352-9701-DA0329F7CF43}"/>
              </a:ext>
            </a:extLst>
          </p:cNvPr>
          <p:cNvSpPr txBox="1">
            <a:spLocks/>
          </p:cNvSpPr>
          <p:nvPr/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i="0" kern="1200">
                <a:solidFill>
                  <a:srgbClr val="B2B2B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35FC19-5D81-4B7A-8E14-A5413F62D9E8}"/>
              </a:ext>
            </a:extLst>
          </p:cNvPr>
          <p:cNvSpPr txBox="1"/>
          <p:nvPr/>
        </p:nvSpPr>
        <p:spPr>
          <a:xfrm>
            <a:off x="820810" y="6301968"/>
            <a:ext cx="18245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/>
              <a:t>* Based on 2021 Net Sales</a:t>
            </a:r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019DD336-CE59-42BC-B16F-B1FCBC029B73}"/>
              </a:ext>
            </a:extLst>
          </p:cNvPr>
          <p:cNvSpPr/>
          <p:nvPr/>
        </p:nvSpPr>
        <p:spPr>
          <a:xfrm>
            <a:off x="4376800" y="1324649"/>
            <a:ext cx="3657600" cy="1371601"/>
          </a:xfrm>
          <a:prstGeom prst="round2Same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75E787E-65D6-4C3E-BBCC-1A79A7A19D92}"/>
              </a:ext>
            </a:extLst>
          </p:cNvPr>
          <p:cNvSpPr/>
          <p:nvPr/>
        </p:nvSpPr>
        <p:spPr>
          <a:xfrm>
            <a:off x="4376800" y="1324649"/>
            <a:ext cx="3657600" cy="4407039"/>
          </a:xfrm>
          <a:prstGeom prst="roundRect">
            <a:avLst>
              <a:gd name="adj" fmla="val 5483"/>
            </a:avLst>
          </a:prstGeom>
          <a:noFill/>
          <a:ln w="28575">
            <a:solidFill>
              <a:srgbClr val="7B1F6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8F09B252-283A-4376-B9B8-A60B550EB26E}"/>
              </a:ext>
            </a:extLst>
          </p:cNvPr>
          <p:cNvSpPr/>
          <p:nvPr/>
        </p:nvSpPr>
        <p:spPr>
          <a:xfrm>
            <a:off x="4376800" y="5063698"/>
            <a:ext cx="3657600" cy="679597"/>
          </a:xfrm>
          <a:prstGeom prst="round2SameRect">
            <a:avLst>
              <a:gd name="adj1" fmla="val 0"/>
              <a:gd name="adj2" fmla="val 30045"/>
            </a:avLst>
          </a:prstGeom>
          <a:solidFill>
            <a:srgbClr val="7B1F62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€2.5bn*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61B19C2-076E-40FB-9942-3D5626FCB969}"/>
              </a:ext>
            </a:extLst>
          </p:cNvPr>
          <p:cNvSpPr/>
          <p:nvPr/>
        </p:nvSpPr>
        <p:spPr>
          <a:xfrm>
            <a:off x="4510389" y="2985079"/>
            <a:ext cx="3430118" cy="193899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Health, Nutrition &amp; Care</a:t>
            </a:r>
            <a:b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7B1F62"/>
              </a:solidFill>
              <a:effectLst/>
              <a:uLnTx/>
              <a:uFillTx/>
              <a:latin typeface="Fira Sans Medium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Keeping the world’s growing population healthy</a:t>
            </a:r>
          </a:p>
        </p:txBody>
      </p:sp>
      <p:sp>
        <p:nvSpPr>
          <p:cNvPr id="47" name="Rectangle: Top Corners Rounded 46">
            <a:extLst>
              <a:ext uri="{FF2B5EF4-FFF2-40B4-BE49-F238E27FC236}">
                <a16:creationId xmlns:a16="http://schemas.microsoft.com/office/drawing/2014/main" id="{E8EA9A9E-A6F6-4B5B-A064-1C48D2396301}"/>
              </a:ext>
            </a:extLst>
          </p:cNvPr>
          <p:cNvSpPr/>
          <p:nvPr/>
        </p:nvSpPr>
        <p:spPr>
          <a:xfrm>
            <a:off x="544260" y="1334809"/>
            <a:ext cx="3657600" cy="1371601"/>
          </a:xfrm>
          <a:prstGeom prst="round2Same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0D63386-81F9-44BB-AC5A-A94DF15FABBD}"/>
              </a:ext>
            </a:extLst>
          </p:cNvPr>
          <p:cNvSpPr/>
          <p:nvPr/>
        </p:nvSpPr>
        <p:spPr>
          <a:xfrm>
            <a:off x="544260" y="1334809"/>
            <a:ext cx="3657600" cy="4407039"/>
          </a:xfrm>
          <a:prstGeom prst="roundRect">
            <a:avLst>
              <a:gd name="adj" fmla="val 5483"/>
            </a:avLst>
          </a:prstGeom>
          <a:noFill/>
          <a:ln w="28575">
            <a:solidFill>
              <a:srgbClr val="007E4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9" name="Rectangle: Top Corners Rounded 48">
            <a:extLst>
              <a:ext uri="{FF2B5EF4-FFF2-40B4-BE49-F238E27FC236}">
                <a16:creationId xmlns:a16="http://schemas.microsoft.com/office/drawing/2014/main" id="{B1508FB3-0722-4F85-9E63-C45386F0C03A}"/>
              </a:ext>
            </a:extLst>
          </p:cNvPr>
          <p:cNvSpPr/>
          <p:nvPr/>
        </p:nvSpPr>
        <p:spPr>
          <a:xfrm>
            <a:off x="544460" y="5062251"/>
            <a:ext cx="3657600" cy="679597"/>
          </a:xfrm>
          <a:prstGeom prst="round2SameRect">
            <a:avLst>
              <a:gd name="adj1" fmla="val 0"/>
              <a:gd name="adj2" fmla="val 30045"/>
            </a:avLst>
          </a:prstGeom>
          <a:solidFill>
            <a:srgbClr val="007E4B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€3.4bn*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26D77AD-B3EF-4366-ABDD-54A3CC16A94A}"/>
              </a:ext>
            </a:extLst>
          </p:cNvPr>
          <p:cNvSpPr/>
          <p:nvPr/>
        </p:nvSpPr>
        <p:spPr>
          <a:xfrm>
            <a:off x="669567" y="2964461"/>
            <a:ext cx="3341087" cy="200054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Animal Nutrition &amp; Health</a:t>
            </a:r>
            <a:b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</a:b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7E4B"/>
              </a:solidFill>
              <a:effectLst/>
              <a:uLnTx/>
              <a:uFillTx/>
              <a:latin typeface="Fira Sans Medium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Radically more sustainable animal farming </a:t>
            </a:r>
          </a:p>
        </p:txBody>
      </p:sp>
      <p:sp>
        <p:nvSpPr>
          <p:cNvPr id="51" name="Rectangle: Top Corners Rounded 50">
            <a:extLst>
              <a:ext uri="{FF2B5EF4-FFF2-40B4-BE49-F238E27FC236}">
                <a16:creationId xmlns:a16="http://schemas.microsoft.com/office/drawing/2014/main" id="{A0166230-B129-46F9-A098-A255D84C2A4F}"/>
              </a:ext>
            </a:extLst>
          </p:cNvPr>
          <p:cNvSpPr/>
          <p:nvPr/>
        </p:nvSpPr>
        <p:spPr>
          <a:xfrm>
            <a:off x="8162325" y="1324649"/>
            <a:ext cx="3657600" cy="1371601"/>
          </a:xfrm>
          <a:prstGeom prst="round2Same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0C1524BA-43A6-4607-88F7-8B100B4049A5}"/>
              </a:ext>
            </a:extLst>
          </p:cNvPr>
          <p:cNvSpPr/>
          <p:nvPr/>
        </p:nvSpPr>
        <p:spPr>
          <a:xfrm>
            <a:off x="8146748" y="1324649"/>
            <a:ext cx="3657600" cy="4407039"/>
          </a:xfrm>
          <a:prstGeom prst="roundRect">
            <a:avLst>
              <a:gd name="adj" fmla="val 5483"/>
            </a:avLst>
          </a:prstGeom>
          <a:noFill/>
          <a:ln w="28575">
            <a:solidFill>
              <a:srgbClr val="EE720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53" name="Rectangle: Top Corners Rounded 52">
            <a:extLst>
              <a:ext uri="{FF2B5EF4-FFF2-40B4-BE49-F238E27FC236}">
                <a16:creationId xmlns:a16="http://schemas.microsoft.com/office/drawing/2014/main" id="{7990B1FF-4170-4E6B-9F64-D3705409FE41}"/>
              </a:ext>
            </a:extLst>
          </p:cNvPr>
          <p:cNvSpPr/>
          <p:nvPr/>
        </p:nvSpPr>
        <p:spPr>
          <a:xfrm>
            <a:off x="8146748" y="5052091"/>
            <a:ext cx="3657600" cy="679597"/>
          </a:xfrm>
          <a:prstGeom prst="round2SameRect">
            <a:avLst>
              <a:gd name="adj1" fmla="val 0"/>
              <a:gd name="adj2" fmla="val 30045"/>
            </a:avLst>
          </a:prstGeom>
          <a:solidFill>
            <a:srgbClr val="EE7203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€1.3bn*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3AAB855-28D7-43A9-999F-A2CB2A233F0E}"/>
              </a:ext>
            </a:extLst>
          </p:cNvPr>
          <p:cNvSpPr/>
          <p:nvPr/>
        </p:nvSpPr>
        <p:spPr>
          <a:xfrm>
            <a:off x="8223150" y="3015857"/>
            <a:ext cx="3535950" cy="187743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Food &amp; Beverage</a:t>
            </a:r>
            <a:b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</a:b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EE7203"/>
              </a:solidFill>
              <a:effectLst/>
              <a:uLnTx/>
              <a:uFillTx/>
              <a:latin typeface="Fira Sans Medium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Healthy diets for all through nutritious, delicious and sustainable solutions </a:t>
            </a:r>
          </a:p>
        </p:txBody>
      </p:sp>
    </p:spTree>
    <p:extLst>
      <p:ext uri="{BB962C8B-B14F-4D97-AF65-F5344CB8AC3E}">
        <p14:creationId xmlns:p14="http://schemas.microsoft.com/office/powerpoint/2010/main" val="42087798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1D24264-D93E-4619-A0F2-AF1984F89E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1D24264-D93E-4619-A0F2-AF1984F89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8A5FE1E-064F-47E4-9B81-4F79003A1D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 Medium" panose="020B0603050000020004" pitchFamily="34" charset="0"/>
              <a:ea typeface="+mn-ea"/>
              <a:cs typeface="+mn-cs"/>
              <a:sym typeface="Fira Sans Medium" panose="020B0603050000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96D15-35CC-468F-B999-9E667D016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886397"/>
          </a:xfrm>
        </p:spPr>
        <p:txBody>
          <a:bodyPr/>
          <a:lstStyle/>
          <a:p>
            <a:r>
              <a:rPr lang="en-US"/>
              <a:t>Increased general awareness of the critical role of nutrition, supported by rapid developments in science &amp; technology</a:t>
            </a:r>
          </a:p>
        </p:txBody>
      </p:sp>
      <p:sp>
        <p:nvSpPr>
          <p:cNvPr id="44" name="Slide Number Placeholder 2">
            <a:extLst>
              <a:ext uri="{FF2B5EF4-FFF2-40B4-BE49-F238E27FC236}">
                <a16:creationId xmlns:a16="http://schemas.microsoft.com/office/drawing/2014/main" id="{BCF81EEE-5834-4B3B-9BF5-4953D03FA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48AF1E-5CC3-49F1-A7D8-181E86863DC8}"/>
              </a:ext>
            </a:extLst>
          </p:cNvPr>
          <p:cNvSpPr txBox="1"/>
          <p:nvPr/>
        </p:nvSpPr>
        <p:spPr>
          <a:xfrm>
            <a:off x="678895" y="4632909"/>
            <a:ext cx="5220000" cy="788177"/>
          </a:xfrm>
          <a:prstGeom prst="roundRect">
            <a:avLst/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32000">
                  <a:schemeClr val="accent1"/>
                </a:gs>
                <a:gs pos="75000">
                  <a:schemeClr val="accent4"/>
                </a:gs>
              </a:gsLst>
              <a:lin ang="0" scaled="1"/>
              <a:tileRect/>
            </a:gradFill>
          </a:ln>
        </p:spPr>
        <p:txBody>
          <a:bodyPr wrap="square" lIns="0" tIns="72000" rIns="0" bIns="7200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 Medium"/>
              </a:defRPr>
            </a:lvl1pPr>
          </a:lstStyle>
          <a:p>
            <a:pPr>
              <a:spcAft>
                <a:spcPts val="0"/>
              </a:spcAft>
            </a:pPr>
            <a:r>
              <a:rPr lang="en-US" sz="1600">
                <a:latin typeface="+mn-lt"/>
              </a:rPr>
              <a:t>Market opportunity for solutions that </a:t>
            </a:r>
          </a:p>
          <a:p>
            <a:pPr>
              <a:spcAft>
                <a:spcPts val="0"/>
              </a:spcAft>
            </a:pPr>
            <a:r>
              <a:rPr lang="en-US" sz="1600">
                <a:latin typeface="+mn-lt"/>
              </a:rPr>
              <a:t>offer </a:t>
            </a:r>
            <a:r>
              <a:rPr lang="en-US" sz="1600" b="1">
                <a:latin typeface="+mn-lt"/>
              </a:rPr>
              <a:t>health through nutrition </a:t>
            </a:r>
            <a:endParaRPr lang="en-GB" sz="1600" b="1">
              <a:latin typeface="+mn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1CD1BC6-8359-48ED-8D32-9AC459D8F5C3}"/>
              </a:ext>
            </a:extLst>
          </p:cNvPr>
          <p:cNvGrpSpPr/>
          <p:nvPr/>
        </p:nvGrpSpPr>
        <p:grpSpPr>
          <a:xfrm>
            <a:off x="4230420" y="2613135"/>
            <a:ext cx="1642159" cy="1509798"/>
            <a:chOff x="4230420" y="2613135"/>
            <a:chExt cx="1642159" cy="1509798"/>
          </a:xfrm>
        </p:grpSpPr>
        <p:sp>
          <p:nvSpPr>
            <p:cNvPr id="37" name="TextBox 13">
              <a:extLst>
                <a:ext uri="{FF2B5EF4-FFF2-40B4-BE49-F238E27FC236}">
                  <a16:creationId xmlns:a16="http://schemas.microsoft.com/office/drawing/2014/main" id="{603A53C0-8375-4D1A-954E-B2E876A252C8}"/>
                </a:ext>
              </a:extLst>
            </p:cNvPr>
            <p:cNvSpPr txBox="1"/>
            <p:nvPr/>
          </p:nvSpPr>
          <p:spPr>
            <a:xfrm>
              <a:off x="4230420" y="3876712"/>
              <a:ext cx="164215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Environment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3E51E36-1080-4C99-8861-9B5D7F5F49DD}"/>
                </a:ext>
              </a:extLst>
            </p:cNvPr>
            <p:cNvGrpSpPr/>
            <p:nvPr/>
          </p:nvGrpSpPr>
          <p:grpSpPr>
            <a:xfrm>
              <a:off x="4265946" y="2613135"/>
              <a:ext cx="1571106" cy="1047404"/>
              <a:chOff x="4291346" y="2613135"/>
              <a:chExt cx="1571106" cy="1047404"/>
            </a:xfrm>
          </p:grpSpPr>
          <p:pic>
            <p:nvPicPr>
              <p:cNvPr id="4" name="Picture 10">
                <a:extLst>
                  <a:ext uri="{FF2B5EF4-FFF2-40B4-BE49-F238E27FC236}">
                    <a16:creationId xmlns:a16="http://schemas.microsoft.com/office/drawing/2014/main" id="{F238D307-41B6-487C-BABC-B655DD8929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rcRect/>
              <a:stretch/>
            </p:blipFill>
            <p:spPr>
              <a:xfrm>
                <a:off x="4291346" y="2613135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43" name="Picture 9" descr="Goal 12 | Department of Economic and Social Affairs">
                <a:extLst>
                  <a:ext uri="{FF2B5EF4-FFF2-40B4-BE49-F238E27FC236}">
                    <a16:creationId xmlns:a16="http://schemas.microsoft.com/office/drawing/2014/main" id="{8792657B-787A-4201-8C37-8C9A7F36B02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28730" y="2651408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5" name="Picture 11" descr="Goal 13 | Department of Economic and Social Affairs">
                <a:extLst>
                  <a:ext uri="{FF2B5EF4-FFF2-40B4-BE49-F238E27FC236}">
                    <a16:creationId xmlns:a16="http://schemas.microsoft.com/office/drawing/2014/main" id="{4CA8DA8B-96AD-4540-8C91-CD8A90B5D99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28730" y="3146708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C44050D-37C8-4D5C-88CF-32BCC1F7A2E3}"/>
              </a:ext>
            </a:extLst>
          </p:cNvPr>
          <p:cNvGrpSpPr/>
          <p:nvPr/>
        </p:nvGrpSpPr>
        <p:grpSpPr>
          <a:xfrm>
            <a:off x="468000" y="2613135"/>
            <a:ext cx="1711983" cy="1509798"/>
            <a:chOff x="468000" y="2613135"/>
            <a:chExt cx="1711983" cy="150979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DBB8B59-B90A-4058-BB5C-C60A25A24F9B}"/>
                </a:ext>
              </a:extLst>
            </p:cNvPr>
            <p:cNvGrpSpPr/>
            <p:nvPr/>
          </p:nvGrpSpPr>
          <p:grpSpPr>
            <a:xfrm>
              <a:off x="538438" y="2613135"/>
              <a:ext cx="1571106" cy="1047404"/>
              <a:chOff x="559172" y="2613135"/>
              <a:chExt cx="1571106" cy="1047404"/>
            </a:xfrm>
          </p:grpSpPr>
          <p:pic>
            <p:nvPicPr>
              <p:cNvPr id="27" name="Picture 11">
                <a:extLst>
                  <a:ext uri="{FF2B5EF4-FFF2-40B4-BE49-F238E27FC236}">
                    <a16:creationId xmlns:a16="http://schemas.microsoft.com/office/drawing/2014/main" id="{DD7E9677-4413-44FA-BCE4-86B28F1572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rcRect/>
              <a:stretch/>
            </p:blipFill>
            <p:spPr>
              <a:xfrm>
                <a:off x="559172" y="2613135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39" name="Picture 4" descr="Goal 3 | Department of Economic and Social Affairs">
                <a:extLst>
                  <a:ext uri="{FF2B5EF4-FFF2-40B4-BE49-F238E27FC236}">
                    <a16:creationId xmlns:a16="http://schemas.microsoft.com/office/drawing/2014/main" id="{FADEF4E1-2384-4B34-B11D-AD1E39EDA0C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5815" y="2651408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TextBox 24">
              <a:extLst>
                <a:ext uri="{FF2B5EF4-FFF2-40B4-BE49-F238E27FC236}">
                  <a16:creationId xmlns:a16="http://schemas.microsoft.com/office/drawing/2014/main" id="{BE243130-B859-444B-BA0E-40D55A7522D6}"/>
                </a:ext>
              </a:extLst>
            </p:cNvPr>
            <p:cNvSpPr txBox="1"/>
            <p:nvPr/>
          </p:nvSpPr>
          <p:spPr>
            <a:xfrm>
              <a:off x="468000" y="3876712"/>
              <a:ext cx="1711983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Consumer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4ABDFD-338F-4A8E-91BC-389A401B54E2}"/>
              </a:ext>
            </a:extLst>
          </p:cNvPr>
          <p:cNvGrpSpPr/>
          <p:nvPr/>
        </p:nvGrpSpPr>
        <p:grpSpPr>
          <a:xfrm>
            <a:off x="2263642" y="2613135"/>
            <a:ext cx="1883118" cy="1509798"/>
            <a:chOff x="2267260" y="2613135"/>
            <a:chExt cx="1883118" cy="1509798"/>
          </a:xfrm>
        </p:grpSpPr>
        <p:sp>
          <p:nvSpPr>
            <p:cNvPr id="35" name="TextBox 12">
              <a:extLst>
                <a:ext uri="{FF2B5EF4-FFF2-40B4-BE49-F238E27FC236}">
                  <a16:creationId xmlns:a16="http://schemas.microsoft.com/office/drawing/2014/main" id="{ECF9C192-AD67-4AC2-8BA6-74BFBACF3FE5}"/>
                </a:ext>
              </a:extLst>
            </p:cNvPr>
            <p:cNvSpPr txBox="1"/>
            <p:nvPr/>
          </p:nvSpPr>
          <p:spPr>
            <a:xfrm>
              <a:off x="2267260" y="3876712"/>
              <a:ext cx="188311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Society 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ED652E9-3366-4ACE-B1C3-BA48C043AA30}"/>
                </a:ext>
              </a:extLst>
            </p:cNvPr>
            <p:cNvGrpSpPr/>
            <p:nvPr/>
          </p:nvGrpSpPr>
          <p:grpSpPr>
            <a:xfrm>
              <a:off x="2423266" y="2613135"/>
              <a:ext cx="1571106" cy="1047404"/>
              <a:chOff x="2425259" y="2613135"/>
              <a:chExt cx="1571106" cy="1047404"/>
            </a:xfrm>
          </p:grpSpPr>
          <p:pic>
            <p:nvPicPr>
              <p:cNvPr id="3" name="Picture 9">
                <a:extLst>
                  <a:ext uri="{FF2B5EF4-FFF2-40B4-BE49-F238E27FC236}">
                    <a16:creationId xmlns:a16="http://schemas.microsoft.com/office/drawing/2014/main" id="{775B022E-0048-47FA-B144-12E8FCD91D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rcRect/>
              <a:stretch/>
            </p:blipFill>
            <p:spPr>
              <a:xfrm>
                <a:off x="2425259" y="2613135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41" name="Picture 6" descr="Goal 2 | Department of Economic and Social Affairs">
                <a:extLst>
                  <a:ext uri="{FF2B5EF4-FFF2-40B4-BE49-F238E27FC236}">
                    <a16:creationId xmlns:a16="http://schemas.microsoft.com/office/drawing/2014/main" id="{0BCFADAD-1E3D-4E32-BCE9-E501B3D83C5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73427" y="2651408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4" descr="Goal 3 | Department of Economic and Social Affairs">
                <a:extLst>
                  <a:ext uri="{FF2B5EF4-FFF2-40B4-BE49-F238E27FC236}">
                    <a16:creationId xmlns:a16="http://schemas.microsoft.com/office/drawing/2014/main" id="{920CAD93-CA59-42D3-B541-E75319CFCBF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64871" y="3154615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E0DD5476-0B13-4910-9ED1-075121E37496}"/>
              </a:ext>
            </a:extLst>
          </p:cNvPr>
          <p:cNvSpPr txBox="1"/>
          <p:nvPr/>
        </p:nvSpPr>
        <p:spPr>
          <a:xfrm>
            <a:off x="2006940" y="2048174"/>
            <a:ext cx="3876818" cy="318924"/>
          </a:xfrm>
          <a:prstGeom prst="rect">
            <a:avLst/>
          </a:prstGeom>
          <a:noFill/>
        </p:spPr>
        <p:txBody>
          <a:bodyPr wrap="square" lIns="0" tIns="0" rIns="0" bIns="72000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Trends and challenges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81503D3-983D-47FA-B885-3D1CB36FB8FD}"/>
              </a:ext>
            </a:extLst>
          </p:cNvPr>
          <p:cNvCxnSpPr/>
          <p:nvPr/>
        </p:nvCxnSpPr>
        <p:spPr>
          <a:xfrm>
            <a:off x="559171" y="2397876"/>
            <a:ext cx="5394960" cy="0"/>
          </a:xfrm>
          <a:prstGeom prst="line">
            <a:avLst/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32000">
                  <a:schemeClr val="accent1"/>
                </a:gs>
                <a:gs pos="75000">
                  <a:schemeClr val="accent4"/>
                </a:gs>
              </a:gsLst>
              <a:lin ang="0" scaled="1"/>
              <a:tileRect/>
            </a:gradFill>
          </a:ln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35BBE1A-9F1E-4C0B-A3C2-F8F924FFDBEA}"/>
              </a:ext>
            </a:extLst>
          </p:cNvPr>
          <p:cNvCxnSpPr>
            <a:cxnSpLocks/>
          </p:cNvCxnSpPr>
          <p:nvPr/>
        </p:nvCxnSpPr>
        <p:spPr>
          <a:xfrm flipH="1">
            <a:off x="6104022" y="2093060"/>
            <a:ext cx="1" cy="210729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8D0BB73-57A1-4B1F-AA79-951DDDD1279B}"/>
              </a:ext>
            </a:extLst>
          </p:cNvPr>
          <p:cNvSpPr txBox="1"/>
          <p:nvPr/>
        </p:nvSpPr>
        <p:spPr>
          <a:xfrm>
            <a:off x="6319422" y="4632909"/>
            <a:ext cx="5220000" cy="788177"/>
          </a:xfrm>
          <a:prstGeom prst="roundRect">
            <a:avLst/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32000">
                  <a:schemeClr val="accent1"/>
                </a:gs>
                <a:gs pos="75000">
                  <a:schemeClr val="accent4"/>
                </a:gs>
              </a:gsLst>
              <a:lin ang="10800000" scaled="1"/>
              <a:tileRect/>
            </a:gradFill>
          </a:ln>
        </p:spPr>
        <p:txBody>
          <a:bodyPr wrap="square" lIns="0" tIns="72000" rIns="0" bIns="72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Science &amp; technology enabl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accent3"/>
                </a:solidFill>
              </a:rPr>
              <a:t>unprecedented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 </a:t>
            </a:r>
            <a:r>
              <a:rPr lang="en-US" sz="1600" b="1">
                <a:solidFill>
                  <a:schemeClr val="accent3"/>
                </a:solidFill>
              </a:rPr>
              <a:t>precision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EBA1F20-0D07-4773-9B1F-829DF581B17B}"/>
              </a:ext>
            </a:extLst>
          </p:cNvPr>
          <p:cNvGrpSpPr/>
          <p:nvPr/>
        </p:nvGrpSpPr>
        <p:grpSpPr>
          <a:xfrm>
            <a:off x="8063238" y="2613135"/>
            <a:ext cx="1911489" cy="1756020"/>
            <a:chOff x="8089643" y="2613135"/>
            <a:chExt cx="1911489" cy="175602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5BD8901-5536-495B-80FB-E1C3622B1F49}"/>
                </a:ext>
              </a:extLst>
            </p:cNvPr>
            <p:cNvPicPr>
              <a:picLocks/>
            </p:cNvPicPr>
            <p:nvPr/>
          </p:nvPicPr>
          <p:blipFill>
            <a:blip r:embed="rId15"/>
            <a:srcRect/>
            <a:stretch/>
          </p:blipFill>
          <p:spPr>
            <a:xfrm>
              <a:off x="8259687" y="2613135"/>
              <a:ext cx="1571400" cy="1047600"/>
            </a:xfrm>
            <a:prstGeom prst="rect">
              <a:avLst/>
            </a:prstGeom>
            <a:effectLst/>
          </p:spPr>
        </p:pic>
        <p:sp>
          <p:nvSpPr>
            <p:cNvPr id="48" name="TextBox 12">
              <a:extLst>
                <a:ext uri="{FF2B5EF4-FFF2-40B4-BE49-F238E27FC236}">
                  <a16:creationId xmlns:a16="http://schemas.microsoft.com/office/drawing/2014/main" id="{771A6268-0EA2-479F-8BF3-C5A6512D08DB}"/>
                </a:ext>
              </a:extLst>
            </p:cNvPr>
            <p:cNvSpPr txBox="1"/>
            <p:nvPr/>
          </p:nvSpPr>
          <p:spPr>
            <a:xfrm>
              <a:off x="8089643" y="3876712"/>
              <a:ext cx="1911489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Data &amp; </a:t>
              </a:r>
              <a:br>
                <a:rPr kumimoji="0" lang="en-GB" sz="16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GB" sz="1600" i="0" u="none" strike="noStrike" kern="1200" cap="none" normalizeH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Digital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C300C35-A278-423F-BDC8-95967EEE3F4D}"/>
              </a:ext>
            </a:extLst>
          </p:cNvPr>
          <p:cNvGrpSpPr/>
          <p:nvPr/>
        </p:nvGrpSpPr>
        <p:grpSpPr>
          <a:xfrm>
            <a:off x="9983032" y="2613135"/>
            <a:ext cx="1858121" cy="1756020"/>
            <a:chOff x="9983032" y="2613135"/>
            <a:chExt cx="1858121" cy="175602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A6F8009-1B06-4A23-90A5-4D6F7568803F}"/>
                </a:ext>
              </a:extLst>
            </p:cNvPr>
            <p:cNvPicPr>
              <a:picLocks/>
            </p:cNvPicPr>
            <p:nvPr/>
          </p:nvPicPr>
          <p:blipFill>
            <a:blip r:embed="rId16"/>
            <a:srcRect/>
            <a:stretch/>
          </p:blipFill>
          <p:spPr>
            <a:xfrm>
              <a:off x="10126539" y="2613135"/>
              <a:ext cx="1571106" cy="1047404"/>
            </a:xfrm>
            <a:prstGeom prst="rect">
              <a:avLst/>
            </a:prstGeom>
            <a:effectLst/>
          </p:spPr>
        </p:pic>
        <p:sp>
          <p:nvSpPr>
            <p:cNvPr id="49" name="TextBox 13">
              <a:extLst>
                <a:ext uri="{FF2B5EF4-FFF2-40B4-BE49-F238E27FC236}">
                  <a16:creationId xmlns:a16="http://schemas.microsoft.com/office/drawing/2014/main" id="{38488434-07A8-42E5-8CF7-D6D718AD004D}"/>
                </a:ext>
              </a:extLst>
            </p:cNvPr>
            <p:cNvSpPr txBox="1"/>
            <p:nvPr/>
          </p:nvSpPr>
          <p:spPr>
            <a:xfrm>
              <a:off x="9983032" y="3876712"/>
              <a:ext cx="1858121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Precision &amp; Personalization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726FAD5-3EC1-4200-BDA5-2716BC9AC61A}"/>
              </a:ext>
            </a:extLst>
          </p:cNvPr>
          <p:cNvGrpSpPr/>
          <p:nvPr/>
        </p:nvGrpSpPr>
        <p:grpSpPr>
          <a:xfrm>
            <a:off x="6319422" y="2613135"/>
            <a:ext cx="1735511" cy="2002241"/>
            <a:chOff x="6319422" y="2613135"/>
            <a:chExt cx="1735511" cy="2002241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F5A9F31-CD11-4A09-AD3E-6E956A57A5E0}"/>
                </a:ext>
              </a:extLst>
            </p:cNvPr>
            <p:cNvPicPr>
              <a:picLocks/>
            </p:cNvPicPr>
            <p:nvPr/>
          </p:nvPicPr>
          <p:blipFill>
            <a:blip r:embed="rId17"/>
            <a:srcRect/>
            <a:stretch/>
          </p:blipFill>
          <p:spPr>
            <a:xfrm>
              <a:off x="6401624" y="2613135"/>
              <a:ext cx="1571106" cy="1047404"/>
            </a:xfrm>
            <a:prstGeom prst="rect">
              <a:avLst/>
            </a:prstGeom>
            <a:effectLst/>
          </p:spPr>
        </p:pic>
        <p:sp>
          <p:nvSpPr>
            <p:cNvPr id="50" name="TextBox 24">
              <a:extLst>
                <a:ext uri="{FF2B5EF4-FFF2-40B4-BE49-F238E27FC236}">
                  <a16:creationId xmlns:a16="http://schemas.microsoft.com/office/drawing/2014/main" id="{A602C83A-197F-4772-9F3F-D068D6E8F8C2}"/>
                </a:ext>
              </a:extLst>
            </p:cNvPr>
            <p:cNvSpPr txBox="1"/>
            <p:nvPr/>
          </p:nvSpPr>
          <p:spPr>
            <a:xfrm>
              <a:off x="6319422" y="3876712"/>
              <a:ext cx="1735511" cy="738664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Biotechnology</a:t>
              </a:r>
              <a:r>
                <a:rPr kumimoji="0" lang="en-GB" sz="1600" i="0" u="none" strike="noStrike" kern="1200" cap="none" normalizeH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GB" sz="16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breakthroughs</a:t>
              </a:r>
              <a:br>
                <a:rPr kumimoji="0" lang="en-GB" sz="16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endParaRPr kumimoji="0" lang="en-GB" sz="1600" i="0" u="none" strike="noStrike" kern="1200" cap="none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976B9C4C-6626-44E8-B7DF-22EF082B3AA1}"/>
              </a:ext>
            </a:extLst>
          </p:cNvPr>
          <p:cNvSpPr txBox="1"/>
          <p:nvPr/>
        </p:nvSpPr>
        <p:spPr>
          <a:xfrm>
            <a:off x="6285037" y="2048174"/>
            <a:ext cx="4764137" cy="318924"/>
          </a:xfrm>
          <a:prstGeom prst="rect">
            <a:avLst/>
          </a:prstGeom>
          <a:noFill/>
        </p:spPr>
        <p:txBody>
          <a:bodyPr wrap="square" lIns="0" tIns="0" rIns="0" bIns="720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Bioscience &amp; technology advance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762E65F-86F1-4C0F-8BD1-3517DFFD27C2}"/>
              </a:ext>
            </a:extLst>
          </p:cNvPr>
          <p:cNvCxnSpPr>
            <a:cxnSpLocks/>
          </p:cNvCxnSpPr>
          <p:nvPr/>
        </p:nvCxnSpPr>
        <p:spPr>
          <a:xfrm flipH="1">
            <a:off x="6253916" y="2397876"/>
            <a:ext cx="5394960" cy="0"/>
          </a:xfrm>
          <a:prstGeom prst="line">
            <a:avLst/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32000">
                  <a:schemeClr val="accent1"/>
                </a:gs>
                <a:gs pos="75000">
                  <a:schemeClr val="accent4"/>
                </a:gs>
              </a:gsLst>
              <a:lin ang="0" scaled="1"/>
              <a:tileRect/>
            </a:gradFill>
          </a:ln>
        </p:spPr>
      </p:cxnSp>
    </p:spTree>
    <p:extLst>
      <p:ext uri="{BB962C8B-B14F-4D97-AF65-F5344CB8AC3E}">
        <p14:creationId xmlns:p14="http://schemas.microsoft.com/office/powerpoint/2010/main" val="5370600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Placeholder 32">
            <a:extLst>
              <a:ext uri="{FF2B5EF4-FFF2-40B4-BE49-F238E27FC236}">
                <a16:creationId xmlns:a16="http://schemas.microsoft.com/office/drawing/2014/main" id="{1CA5D087-F678-4599-B466-2DE1AED3BCF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07" cy="6858000"/>
          </a:xfr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9E59620-0B82-4C78-9B84-DADE2C5ED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912F2E7-BC40-4C9B-94F9-C13FF246B0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6597749" cy="4198565"/>
          </a:xfrm>
          <a:prstGeom prst="rect">
            <a:avLst/>
          </a:prstGeom>
        </p:spPr>
      </p:pic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43F2DED8-A70F-452D-838A-EC2C85FEADE1}"/>
              </a:ext>
            </a:extLst>
          </p:cNvPr>
          <p:cNvSpPr/>
          <p:nvPr/>
        </p:nvSpPr>
        <p:spPr>
          <a:xfrm rot="5400000">
            <a:off x="2405320" y="1197997"/>
            <a:ext cx="2088000" cy="689864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289ED7">
                  <a:alpha val="80000"/>
                </a:srgbClr>
              </a:gs>
              <a:gs pos="73000">
                <a:srgbClr val="133D83">
                  <a:alpha val="70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Title 6">
            <a:extLst>
              <a:ext uri="{FF2B5EF4-FFF2-40B4-BE49-F238E27FC236}">
                <a16:creationId xmlns:a16="http://schemas.microsoft.com/office/drawing/2014/main" id="{0B547F5E-87B5-4351-B2E7-767C85FD178B}"/>
              </a:ext>
            </a:extLst>
          </p:cNvPr>
          <p:cNvSpPr txBox="1">
            <a:spLocks/>
          </p:cNvSpPr>
          <p:nvPr/>
        </p:nvSpPr>
        <p:spPr bwMode="white">
          <a:xfrm>
            <a:off x="300514" y="4122723"/>
            <a:ext cx="5795486" cy="11079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1200"/>
              </a:spcBef>
              <a:spcAft>
                <a:spcPts val="600"/>
              </a:spcAft>
              <a:buClr>
                <a:srgbClr val="003478"/>
              </a:buClr>
              <a:defRPr/>
            </a:pPr>
            <a:r>
              <a:rPr lang="en-US" sz="2000" i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DSM is able to meaningful contribute to the critical transformation of global food systems by exclusively focusing on </a:t>
            </a:r>
            <a:r>
              <a:rPr lang="en-US" sz="2000" b="1" i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Health, Nutrition &amp; Bioscience</a:t>
            </a:r>
            <a:r>
              <a:rPr lang="en-US" sz="2000" i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.</a:t>
            </a:r>
            <a:r>
              <a:rPr lang="en-US" sz="2000" b="1" i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  </a:t>
            </a:r>
            <a:endParaRPr lang="en-NL" sz="2000" i="1"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582782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FE6125-0873-4040-9499-0A9DBBF94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34282F-80BF-4955-87B2-E63C859CB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>
                <a:solidFill>
                  <a:srgbClr val="007E4B"/>
                </a:solidFill>
              </a:rPr>
              <a:t>Animal Nutrition &amp; Health (ANH) </a:t>
            </a:r>
            <a:endParaRPr lang="en-US">
              <a:solidFill>
                <a:srgbClr val="007E4B"/>
              </a:solidFill>
            </a:endParaRP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F29A3534-1819-412D-B4A4-40C93FB6C288}"/>
              </a:ext>
            </a:extLst>
          </p:cNvPr>
          <p:cNvSpPr txBox="1"/>
          <p:nvPr/>
        </p:nvSpPr>
        <p:spPr>
          <a:xfrm>
            <a:off x="820810" y="6301968"/>
            <a:ext cx="18245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/>
              <a:t>* Based on 2021 Net Sales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B0126EDA-F18F-49DB-B56B-9BB50F06696B}"/>
              </a:ext>
            </a:extLst>
          </p:cNvPr>
          <p:cNvSpPr/>
          <p:nvPr/>
        </p:nvSpPr>
        <p:spPr>
          <a:xfrm>
            <a:off x="460994" y="3307622"/>
            <a:ext cx="3585491" cy="4118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rofessionalization of farming and ensuring farmers can earn a living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4057C79C-7701-401A-B8C8-BCC427CB3B33}"/>
              </a:ext>
            </a:extLst>
          </p:cNvPr>
          <p:cNvSpPr/>
          <p:nvPr/>
        </p:nvSpPr>
        <p:spPr>
          <a:xfrm>
            <a:off x="460995" y="3754862"/>
            <a:ext cx="1169629" cy="11930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elping tackle antimicrobial resistance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0B2CADEF-341B-4056-9750-77596B12818E}"/>
              </a:ext>
            </a:extLst>
          </p:cNvPr>
          <p:cNvSpPr/>
          <p:nvPr/>
        </p:nvSpPr>
        <p:spPr>
          <a:xfrm>
            <a:off x="1668925" y="3754862"/>
            <a:ext cx="1169629" cy="1193093"/>
          </a:xfrm>
          <a:prstGeom prst="rect">
            <a:avLst/>
          </a:prstGeom>
          <a:solidFill>
            <a:srgbClr val="007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Reducing reliance on marine resources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1DDA8C79-0108-4BFC-ABC1-37FAB30E81C1}"/>
              </a:ext>
            </a:extLst>
          </p:cNvPr>
          <p:cNvSpPr/>
          <p:nvPr/>
        </p:nvSpPr>
        <p:spPr>
          <a:xfrm>
            <a:off x="2876856" y="3754862"/>
            <a:ext cx="1169629" cy="1193093"/>
          </a:xfrm>
          <a:prstGeom prst="rect">
            <a:avLst/>
          </a:prstGeom>
          <a:solidFill>
            <a:srgbClr val="F579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Making efficient use of natural resources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40A5F8B3-0C28-4FF2-84B3-AFB12EF99B83}"/>
              </a:ext>
            </a:extLst>
          </p:cNvPr>
          <p:cNvSpPr/>
          <p:nvPr/>
        </p:nvSpPr>
        <p:spPr>
          <a:xfrm>
            <a:off x="460995" y="4978581"/>
            <a:ext cx="1169629" cy="1193093"/>
          </a:xfrm>
          <a:prstGeom prst="rect">
            <a:avLst/>
          </a:prstGeom>
          <a:solidFill>
            <a:srgbClr val="BD0A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Reducing emissions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rom livestock</a:t>
            </a: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2F27E27B-7A3E-489C-AE39-74B7EACFCF87}"/>
              </a:ext>
            </a:extLst>
          </p:cNvPr>
          <p:cNvSpPr/>
          <p:nvPr/>
        </p:nvSpPr>
        <p:spPr>
          <a:xfrm>
            <a:off x="1668925" y="4978581"/>
            <a:ext cx="1169629" cy="11930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Improving lifetime performance of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arm animals</a:t>
            </a: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DE62875-8AC9-4DF1-AFAC-06B2F26B862E}"/>
              </a:ext>
            </a:extLst>
          </p:cNvPr>
          <p:cNvSpPr/>
          <p:nvPr/>
        </p:nvSpPr>
        <p:spPr>
          <a:xfrm>
            <a:off x="2876856" y="4978581"/>
            <a:ext cx="1169629" cy="1193093"/>
          </a:xfrm>
          <a:prstGeom prst="rect">
            <a:avLst/>
          </a:prstGeom>
          <a:solidFill>
            <a:srgbClr val="521B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Improving quality while reducing food loss &amp; waste</a:t>
            </a:r>
          </a:p>
        </p:txBody>
      </p:sp>
      <p:grpSp>
        <p:nvGrpSpPr>
          <p:cNvPr id="280" name="Group 279">
            <a:extLst>
              <a:ext uri="{FF2B5EF4-FFF2-40B4-BE49-F238E27FC236}">
                <a16:creationId xmlns:a16="http://schemas.microsoft.com/office/drawing/2014/main" id="{50232958-7F22-4CF3-9B0A-D779A215FE18}"/>
              </a:ext>
            </a:extLst>
          </p:cNvPr>
          <p:cNvGrpSpPr/>
          <p:nvPr/>
        </p:nvGrpSpPr>
        <p:grpSpPr>
          <a:xfrm>
            <a:off x="2010462" y="5116022"/>
            <a:ext cx="486554" cy="520027"/>
            <a:chOff x="1939619" y="4818145"/>
            <a:chExt cx="588933" cy="674478"/>
          </a:xfrm>
        </p:grpSpPr>
        <p:pic>
          <p:nvPicPr>
            <p:cNvPr id="281" name="Graphic 280" descr="Heart with pulse with solid fill">
              <a:extLst>
                <a:ext uri="{FF2B5EF4-FFF2-40B4-BE49-F238E27FC236}">
                  <a16:creationId xmlns:a16="http://schemas.microsoft.com/office/drawing/2014/main" id="{649F7102-7EA1-4A0B-9E62-394304DC8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91199" y="4968906"/>
              <a:ext cx="485772" cy="485772"/>
            </a:xfrm>
            <a:prstGeom prst="rect">
              <a:avLst/>
            </a:prstGeom>
          </p:spPr>
        </p:pic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CFC60B43-C85A-4615-943F-325EEF3DBC35}"/>
                </a:ext>
              </a:extLst>
            </p:cNvPr>
            <p:cNvSpPr/>
            <p:nvPr/>
          </p:nvSpPr>
          <p:spPr>
            <a:xfrm>
              <a:off x="1939619" y="4818145"/>
              <a:ext cx="588933" cy="674478"/>
            </a:xfrm>
            <a:custGeom>
              <a:avLst/>
              <a:gdLst>
                <a:gd name="connsiteX0" fmla="*/ 293945 w 588933"/>
                <a:gd name="connsiteY0" fmla="*/ 623031 h 674478"/>
                <a:gd name="connsiteX1" fmla="*/ 51655 w 588933"/>
                <a:gd name="connsiteY1" fmla="*/ 380741 h 674478"/>
                <a:gd name="connsiteX2" fmla="*/ 293945 w 588933"/>
                <a:gd name="connsiteY2" fmla="*/ 138451 h 674478"/>
                <a:gd name="connsiteX3" fmla="*/ 536234 w 588933"/>
                <a:gd name="connsiteY3" fmla="*/ 380741 h 674478"/>
                <a:gd name="connsiteX4" fmla="*/ 293945 w 588933"/>
                <a:gd name="connsiteY4" fmla="*/ 623031 h 674478"/>
                <a:gd name="connsiteX5" fmla="*/ 293945 w 588933"/>
                <a:gd name="connsiteY5" fmla="*/ 623031 h 674478"/>
                <a:gd name="connsiteX6" fmla="*/ 499026 w 588933"/>
                <a:gd name="connsiteY6" fmla="*/ 169603 h 674478"/>
                <a:gd name="connsiteX7" fmla="*/ 524985 w 588933"/>
                <a:gd name="connsiteY7" fmla="*/ 143643 h 674478"/>
                <a:gd name="connsiteX8" fmla="*/ 524120 w 588933"/>
                <a:gd name="connsiteY8" fmla="*/ 107300 h 674478"/>
                <a:gd name="connsiteX9" fmla="*/ 487776 w 588933"/>
                <a:gd name="connsiteY9" fmla="*/ 106434 h 674478"/>
                <a:gd name="connsiteX10" fmla="*/ 458356 w 588933"/>
                <a:gd name="connsiteY10" fmla="*/ 136721 h 674478"/>
                <a:gd name="connsiteX11" fmla="*/ 319904 w 588933"/>
                <a:gd name="connsiteY11" fmla="*/ 88263 h 674478"/>
                <a:gd name="connsiteX12" fmla="*/ 319904 w 588933"/>
                <a:gd name="connsiteY12" fmla="*/ 51919 h 674478"/>
                <a:gd name="connsiteX13" fmla="*/ 397783 w 588933"/>
                <a:gd name="connsiteY13" fmla="*/ 51919 h 674478"/>
                <a:gd name="connsiteX14" fmla="*/ 397783 w 588933"/>
                <a:gd name="connsiteY14" fmla="*/ 0 h 674478"/>
                <a:gd name="connsiteX15" fmla="*/ 190106 w 588933"/>
                <a:gd name="connsiteY15" fmla="*/ 0 h 674478"/>
                <a:gd name="connsiteX16" fmla="*/ 190106 w 588933"/>
                <a:gd name="connsiteY16" fmla="*/ 51919 h 674478"/>
                <a:gd name="connsiteX17" fmla="*/ 267985 w 588933"/>
                <a:gd name="connsiteY17" fmla="*/ 51919 h 674478"/>
                <a:gd name="connsiteX18" fmla="*/ 267985 w 588933"/>
                <a:gd name="connsiteY18" fmla="*/ 87397 h 674478"/>
                <a:gd name="connsiteX19" fmla="*/ 2331 w 588933"/>
                <a:gd name="connsiteY19" fmla="*/ 343532 h 674478"/>
                <a:gd name="connsiteX20" fmla="*/ 196163 w 588933"/>
                <a:gd name="connsiteY20" fmla="*/ 657644 h 674478"/>
                <a:gd name="connsiteX21" fmla="*/ 544888 w 588933"/>
                <a:gd name="connsiteY21" fmla="*/ 535634 h 674478"/>
                <a:gd name="connsiteX22" fmla="*/ 499026 w 588933"/>
                <a:gd name="connsiteY22" fmla="*/ 169603 h 674478"/>
                <a:gd name="connsiteX23" fmla="*/ 499026 w 588933"/>
                <a:gd name="connsiteY23" fmla="*/ 169603 h 67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88933" h="674478">
                  <a:moveTo>
                    <a:pt x="293945" y="623031"/>
                  </a:moveTo>
                  <a:cubicBezTo>
                    <a:pt x="159820" y="623031"/>
                    <a:pt x="51655" y="514866"/>
                    <a:pt x="51655" y="380741"/>
                  </a:cubicBezTo>
                  <a:cubicBezTo>
                    <a:pt x="51655" y="246616"/>
                    <a:pt x="159820" y="138451"/>
                    <a:pt x="293945" y="138451"/>
                  </a:cubicBezTo>
                  <a:cubicBezTo>
                    <a:pt x="428069" y="138451"/>
                    <a:pt x="536234" y="246616"/>
                    <a:pt x="536234" y="380741"/>
                  </a:cubicBezTo>
                  <a:cubicBezTo>
                    <a:pt x="536234" y="514866"/>
                    <a:pt x="428069" y="623031"/>
                    <a:pt x="293945" y="623031"/>
                  </a:cubicBezTo>
                  <a:lnTo>
                    <a:pt x="293945" y="623031"/>
                  </a:lnTo>
                  <a:close/>
                  <a:moveTo>
                    <a:pt x="499026" y="169603"/>
                  </a:moveTo>
                  <a:lnTo>
                    <a:pt x="524985" y="143643"/>
                  </a:lnTo>
                  <a:cubicBezTo>
                    <a:pt x="534504" y="133259"/>
                    <a:pt x="534504" y="117684"/>
                    <a:pt x="524120" y="107300"/>
                  </a:cubicBezTo>
                  <a:cubicBezTo>
                    <a:pt x="514601" y="97781"/>
                    <a:pt x="498160" y="96916"/>
                    <a:pt x="487776" y="106434"/>
                  </a:cubicBezTo>
                  <a:lnTo>
                    <a:pt x="458356" y="136721"/>
                  </a:lnTo>
                  <a:cubicBezTo>
                    <a:pt x="416820" y="109030"/>
                    <a:pt x="369227" y="91724"/>
                    <a:pt x="319904" y="88263"/>
                  </a:cubicBezTo>
                  <a:lnTo>
                    <a:pt x="319904" y="51919"/>
                  </a:lnTo>
                  <a:lnTo>
                    <a:pt x="397783" y="51919"/>
                  </a:lnTo>
                  <a:lnTo>
                    <a:pt x="397783" y="0"/>
                  </a:lnTo>
                  <a:lnTo>
                    <a:pt x="190106" y="0"/>
                  </a:lnTo>
                  <a:lnTo>
                    <a:pt x="190106" y="51919"/>
                  </a:lnTo>
                  <a:lnTo>
                    <a:pt x="267985" y="51919"/>
                  </a:lnTo>
                  <a:lnTo>
                    <a:pt x="267985" y="87397"/>
                  </a:lnTo>
                  <a:cubicBezTo>
                    <a:pt x="130399" y="99512"/>
                    <a:pt x="19638" y="205946"/>
                    <a:pt x="2331" y="343532"/>
                  </a:cubicBezTo>
                  <a:cubicBezTo>
                    <a:pt x="-14975" y="481118"/>
                    <a:pt x="65500" y="611782"/>
                    <a:pt x="196163" y="657644"/>
                  </a:cubicBezTo>
                  <a:cubicBezTo>
                    <a:pt x="326827" y="703506"/>
                    <a:pt x="471335" y="653317"/>
                    <a:pt x="544888" y="535634"/>
                  </a:cubicBezTo>
                  <a:cubicBezTo>
                    <a:pt x="618440" y="417950"/>
                    <a:pt x="597672" y="265654"/>
                    <a:pt x="499026" y="169603"/>
                  </a:cubicBezTo>
                  <a:lnTo>
                    <a:pt x="499026" y="169603"/>
                  </a:lnTo>
                  <a:close/>
                </a:path>
              </a:pathLst>
            </a:custGeom>
            <a:solidFill>
              <a:schemeClr val="bg1"/>
            </a:solidFill>
            <a:ln w="8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3" name="Group 282">
            <a:extLst>
              <a:ext uri="{FF2B5EF4-FFF2-40B4-BE49-F238E27FC236}">
                <a16:creationId xmlns:a16="http://schemas.microsoft.com/office/drawing/2014/main" id="{D4C3DA81-9B9F-48D3-91AD-8A6D93596C72}"/>
              </a:ext>
            </a:extLst>
          </p:cNvPr>
          <p:cNvGrpSpPr/>
          <p:nvPr/>
        </p:nvGrpSpPr>
        <p:grpSpPr>
          <a:xfrm>
            <a:off x="3311386" y="3902215"/>
            <a:ext cx="300569" cy="614096"/>
            <a:chOff x="3338320" y="3928159"/>
            <a:chExt cx="300569" cy="614096"/>
          </a:xfrm>
        </p:grpSpPr>
        <p:sp>
          <p:nvSpPr>
            <p:cNvPr id="284" name="Freeform 455">
              <a:extLst>
                <a:ext uri="{FF2B5EF4-FFF2-40B4-BE49-F238E27FC236}">
                  <a16:creationId xmlns:a16="http://schemas.microsoft.com/office/drawing/2014/main" id="{DB6EB9C6-6E24-4EFE-B853-90DB4985F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0162" y="4129399"/>
              <a:ext cx="30394" cy="412856"/>
            </a:xfrm>
            <a:custGeom>
              <a:avLst/>
              <a:gdLst>
                <a:gd name="T0" fmla="*/ 33 w 33"/>
                <a:gd name="T1" fmla="*/ 538 h 538"/>
                <a:gd name="T2" fmla="*/ 7 w 33"/>
                <a:gd name="T3" fmla="*/ 103 h 538"/>
                <a:gd name="T4" fmla="*/ 6 w 33"/>
                <a:gd name="T5" fmla="*/ 0 h 538"/>
                <a:gd name="T6" fmla="*/ 0 w 33"/>
                <a:gd name="T7" fmla="*/ 53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38">
                  <a:moveTo>
                    <a:pt x="33" y="538"/>
                  </a:moveTo>
                  <a:cubicBezTo>
                    <a:pt x="33" y="538"/>
                    <a:pt x="0" y="284"/>
                    <a:pt x="7" y="10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538"/>
                    <a:pt x="0" y="538"/>
                    <a:pt x="0" y="538"/>
                  </a:cubicBezTo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456">
              <a:extLst>
                <a:ext uri="{FF2B5EF4-FFF2-40B4-BE49-F238E27FC236}">
                  <a16:creationId xmlns:a16="http://schemas.microsoft.com/office/drawing/2014/main" id="{EF90EB74-4B55-4F7F-B26B-A990A7F4B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4438" y="3928159"/>
              <a:ext cx="167733" cy="159687"/>
            </a:xfrm>
            <a:custGeom>
              <a:avLst/>
              <a:gdLst>
                <a:gd name="T0" fmla="*/ 97 w 179"/>
                <a:gd name="T1" fmla="*/ 0 h 183"/>
                <a:gd name="T2" fmla="*/ 65 w 179"/>
                <a:gd name="T3" fmla="*/ 180 h 183"/>
                <a:gd name="T4" fmla="*/ 70 w 179"/>
                <a:gd name="T5" fmla="*/ 183 h 183"/>
                <a:gd name="T6" fmla="*/ 97 w 179"/>
                <a:gd name="T7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9" h="183">
                  <a:moveTo>
                    <a:pt x="97" y="0"/>
                  </a:moveTo>
                  <a:cubicBezTo>
                    <a:pt x="97" y="0"/>
                    <a:pt x="0" y="60"/>
                    <a:pt x="65" y="180"/>
                  </a:cubicBezTo>
                  <a:cubicBezTo>
                    <a:pt x="70" y="183"/>
                    <a:pt x="70" y="183"/>
                    <a:pt x="70" y="183"/>
                  </a:cubicBezTo>
                  <a:cubicBezTo>
                    <a:pt x="70" y="183"/>
                    <a:pt x="179" y="120"/>
                    <a:pt x="97" y="0"/>
                  </a:cubicBez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457">
              <a:extLst>
                <a:ext uri="{FF2B5EF4-FFF2-40B4-BE49-F238E27FC236}">
                  <a16:creationId xmlns:a16="http://schemas.microsoft.com/office/drawing/2014/main" id="{5A0490DE-A788-4CAD-B7A8-FAE1E91C8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419" y="4012730"/>
              <a:ext cx="147470" cy="121866"/>
            </a:xfrm>
            <a:custGeom>
              <a:avLst/>
              <a:gdLst>
                <a:gd name="T0" fmla="*/ 158 w 158"/>
                <a:gd name="T1" fmla="*/ 38 h 139"/>
                <a:gd name="T2" fmla="*/ 0 w 158"/>
                <a:gd name="T3" fmla="*/ 102 h 139"/>
                <a:gd name="T4" fmla="*/ 0 w 158"/>
                <a:gd name="T5" fmla="*/ 111 h 139"/>
                <a:gd name="T6" fmla="*/ 158 w 158"/>
                <a:gd name="T7" fmla="*/ 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139">
                  <a:moveTo>
                    <a:pt x="158" y="38"/>
                  </a:moveTo>
                  <a:cubicBezTo>
                    <a:pt x="158" y="38"/>
                    <a:pt x="52" y="0"/>
                    <a:pt x="0" y="102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1"/>
                    <a:pt x="110" y="139"/>
                    <a:pt x="158" y="38"/>
                  </a:cubicBez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458">
              <a:extLst>
                <a:ext uri="{FF2B5EF4-FFF2-40B4-BE49-F238E27FC236}">
                  <a16:creationId xmlns:a16="http://schemas.microsoft.com/office/drawing/2014/main" id="{B1456715-9169-4135-B205-C0627F8ED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419" y="4087846"/>
              <a:ext cx="144093" cy="147080"/>
            </a:xfrm>
            <a:custGeom>
              <a:avLst/>
              <a:gdLst>
                <a:gd name="T0" fmla="*/ 154 w 154"/>
                <a:gd name="T1" fmla="*/ 28 h 168"/>
                <a:gd name="T2" fmla="*/ 4 w 154"/>
                <a:gd name="T3" fmla="*/ 87 h 168"/>
                <a:gd name="T4" fmla="*/ 0 w 154"/>
                <a:gd name="T5" fmla="*/ 107 h 168"/>
                <a:gd name="T6" fmla="*/ 0 w 154"/>
                <a:gd name="T7" fmla="*/ 124 h 168"/>
                <a:gd name="T8" fmla="*/ 154 w 154"/>
                <a:gd name="T9" fmla="*/ 2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54" y="28"/>
                  </a:moveTo>
                  <a:cubicBezTo>
                    <a:pt x="154" y="28"/>
                    <a:pt x="36" y="0"/>
                    <a:pt x="4" y="8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50" y="168"/>
                    <a:pt x="154" y="28"/>
                  </a:cubicBez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8" name="Freeform 459">
              <a:extLst>
                <a:ext uri="{FF2B5EF4-FFF2-40B4-BE49-F238E27FC236}">
                  <a16:creationId xmlns:a16="http://schemas.microsoft.com/office/drawing/2014/main" id="{9B651FC8-2A01-41D8-8E54-EBAE2003D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5790" y="4181872"/>
              <a:ext cx="146907" cy="111886"/>
            </a:xfrm>
            <a:custGeom>
              <a:avLst/>
              <a:gdLst>
                <a:gd name="T0" fmla="*/ 0 w 157"/>
                <a:gd name="T1" fmla="*/ 83 h 128"/>
                <a:gd name="T2" fmla="*/ 149 w 157"/>
                <a:gd name="T3" fmla="*/ 0 h 128"/>
                <a:gd name="T4" fmla="*/ 157 w 157"/>
                <a:gd name="T5" fmla="*/ 0 h 128"/>
                <a:gd name="T6" fmla="*/ 6 w 157"/>
                <a:gd name="T7" fmla="*/ 101 h 128"/>
                <a:gd name="T8" fmla="*/ 0 w 157"/>
                <a:gd name="T9" fmla="*/ 8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28">
                  <a:moveTo>
                    <a:pt x="0" y="83"/>
                  </a:moveTo>
                  <a:cubicBezTo>
                    <a:pt x="0" y="83"/>
                    <a:pt x="16" y="4"/>
                    <a:pt x="149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7" y="0"/>
                    <a:pt x="132" y="128"/>
                    <a:pt x="6" y="101"/>
                  </a:cubicBezTo>
                  <a:lnTo>
                    <a:pt x="0" y="83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9" name="Freeform 460">
              <a:extLst>
                <a:ext uri="{FF2B5EF4-FFF2-40B4-BE49-F238E27FC236}">
                  <a16:creationId xmlns:a16="http://schemas.microsoft.com/office/drawing/2014/main" id="{B4E31E00-531D-46C6-8FA1-3B58A28DC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419" y="4262766"/>
              <a:ext cx="122141" cy="104532"/>
            </a:xfrm>
            <a:custGeom>
              <a:avLst/>
              <a:gdLst>
                <a:gd name="T0" fmla="*/ 0 w 131"/>
                <a:gd name="T1" fmla="*/ 102 h 119"/>
                <a:gd name="T2" fmla="*/ 120 w 131"/>
                <a:gd name="T3" fmla="*/ 0 h 119"/>
                <a:gd name="T4" fmla="*/ 131 w 131"/>
                <a:gd name="T5" fmla="*/ 0 h 119"/>
                <a:gd name="T6" fmla="*/ 4 w 131"/>
                <a:gd name="T7" fmla="*/ 119 h 119"/>
                <a:gd name="T8" fmla="*/ 0 w 131"/>
                <a:gd name="T9" fmla="*/ 10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119">
                  <a:moveTo>
                    <a:pt x="0" y="102"/>
                  </a:moveTo>
                  <a:cubicBezTo>
                    <a:pt x="0" y="102"/>
                    <a:pt x="16" y="6"/>
                    <a:pt x="120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0"/>
                    <a:pt x="126" y="90"/>
                    <a:pt x="4" y="119"/>
                  </a:cubicBezTo>
                  <a:lnTo>
                    <a:pt x="0" y="102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0" name="Freeform 461">
              <a:extLst>
                <a:ext uri="{FF2B5EF4-FFF2-40B4-BE49-F238E27FC236}">
                  <a16:creationId xmlns:a16="http://schemas.microsoft.com/office/drawing/2014/main" id="{B151F7E6-791B-4A18-808A-1581442C7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419" y="4334730"/>
              <a:ext cx="147470" cy="93501"/>
            </a:xfrm>
            <a:custGeom>
              <a:avLst/>
              <a:gdLst>
                <a:gd name="T0" fmla="*/ 0 w 158"/>
                <a:gd name="T1" fmla="*/ 96 h 107"/>
                <a:gd name="T2" fmla="*/ 151 w 158"/>
                <a:gd name="T3" fmla="*/ 15 h 107"/>
                <a:gd name="T4" fmla="*/ 158 w 158"/>
                <a:gd name="T5" fmla="*/ 18 h 107"/>
                <a:gd name="T6" fmla="*/ 14 w 158"/>
                <a:gd name="T7" fmla="*/ 107 h 107"/>
                <a:gd name="T8" fmla="*/ 0 w 158"/>
                <a:gd name="T9" fmla="*/ 100 h 107"/>
                <a:gd name="T10" fmla="*/ 0 w 158"/>
                <a:gd name="T11" fmla="*/ 9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107">
                  <a:moveTo>
                    <a:pt x="0" y="96"/>
                  </a:moveTo>
                  <a:cubicBezTo>
                    <a:pt x="0" y="96"/>
                    <a:pt x="31" y="0"/>
                    <a:pt x="151" y="15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18"/>
                    <a:pt x="142" y="104"/>
                    <a:pt x="14" y="107"/>
                  </a:cubicBezTo>
                  <a:cubicBezTo>
                    <a:pt x="0" y="100"/>
                    <a:pt x="0" y="100"/>
                    <a:pt x="0" y="100"/>
                  </a:cubicBezTo>
                  <a:lnTo>
                    <a:pt x="0" y="96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1" name="Freeform 462">
              <a:extLst>
                <a:ext uri="{FF2B5EF4-FFF2-40B4-BE49-F238E27FC236}">
                  <a16:creationId xmlns:a16="http://schemas.microsoft.com/office/drawing/2014/main" id="{24DB55F9-7D7A-4D76-939A-FCCD1E53A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763" y="4325275"/>
              <a:ext cx="144656" cy="112411"/>
            </a:xfrm>
            <a:custGeom>
              <a:avLst/>
              <a:gdLst>
                <a:gd name="T0" fmla="*/ 154 w 154"/>
                <a:gd name="T1" fmla="*/ 103 h 129"/>
                <a:gd name="T2" fmla="*/ 5 w 154"/>
                <a:gd name="T3" fmla="*/ 37 h 129"/>
                <a:gd name="T4" fmla="*/ 0 w 154"/>
                <a:gd name="T5" fmla="*/ 40 h 129"/>
                <a:gd name="T6" fmla="*/ 142 w 154"/>
                <a:gd name="T7" fmla="*/ 114 h 129"/>
                <a:gd name="T8" fmla="*/ 154 w 154"/>
                <a:gd name="T9" fmla="*/ 107 h 129"/>
                <a:gd name="T10" fmla="*/ 154 w 154"/>
                <a:gd name="T11" fmla="*/ 10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" h="129">
                  <a:moveTo>
                    <a:pt x="154" y="103"/>
                  </a:moveTo>
                  <a:cubicBezTo>
                    <a:pt x="154" y="103"/>
                    <a:pt x="119" y="0"/>
                    <a:pt x="5" y="37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16" y="129"/>
                    <a:pt x="142" y="114"/>
                  </a:cubicBezTo>
                  <a:cubicBezTo>
                    <a:pt x="154" y="107"/>
                    <a:pt x="154" y="107"/>
                    <a:pt x="154" y="107"/>
                  </a:cubicBezTo>
                  <a:lnTo>
                    <a:pt x="154" y="103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2" name="Freeform 463">
              <a:extLst>
                <a:ext uri="{FF2B5EF4-FFF2-40B4-BE49-F238E27FC236}">
                  <a16:creationId xmlns:a16="http://schemas.microsoft.com/office/drawing/2014/main" id="{FEB28FDC-F173-400D-8D9B-94C2CD0DA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320" y="4238603"/>
              <a:ext cx="147470" cy="174920"/>
            </a:xfrm>
            <a:custGeom>
              <a:avLst/>
              <a:gdLst>
                <a:gd name="T0" fmla="*/ 157 w 157"/>
                <a:gd name="T1" fmla="*/ 126 h 200"/>
                <a:gd name="T2" fmla="*/ 5 w 157"/>
                <a:gd name="T3" fmla="*/ 45 h 200"/>
                <a:gd name="T4" fmla="*/ 0 w 157"/>
                <a:gd name="T5" fmla="*/ 40 h 200"/>
                <a:gd name="T6" fmla="*/ 154 w 157"/>
                <a:gd name="T7" fmla="*/ 94 h 200"/>
                <a:gd name="T8" fmla="*/ 157 w 157"/>
                <a:gd name="T9" fmla="*/ 12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200">
                  <a:moveTo>
                    <a:pt x="157" y="126"/>
                  </a:moveTo>
                  <a:cubicBezTo>
                    <a:pt x="157" y="126"/>
                    <a:pt x="112" y="200"/>
                    <a:pt x="5" y="4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95" y="0"/>
                    <a:pt x="154" y="94"/>
                  </a:cubicBezTo>
                  <a:lnTo>
                    <a:pt x="157" y="126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3" name="Freeform 464">
              <a:extLst>
                <a:ext uri="{FF2B5EF4-FFF2-40B4-BE49-F238E27FC236}">
                  <a16:creationId xmlns:a16="http://schemas.microsoft.com/office/drawing/2014/main" id="{F7FBE5C7-A3ED-4C92-A557-A8A43543A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578" y="4161386"/>
              <a:ext cx="136776" cy="138150"/>
            </a:xfrm>
            <a:custGeom>
              <a:avLst/>
              <a:gdLst>
                <a:gd name="T0" fmla="*/ 146 w 146"/>
                <a:gd name="T1" fmla="*/ 116 h 158"/>
                <a:gd name="T2" fmla="*/ 0 w 146"/>
                <a:gd name="T3" fmla="*/ 23 h 158"/>
                <a:gd name="T4" fmla="*/ 145 w 146"/>
                <a:gd name="T5" fmla="*/ 85 h 158"/>
                <a:gd name="T6" fmla="*/ 146 w 146"/>
                <a:gd name="T7" fmla="*/ 11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58">
                  <a:moveTo>
                    <a:pt x="146" y="116"/>
                  </a:moveTo>
                  <a:cubicBezTo>
                    <a:pt x="146" y="116"/>
                    <a:pt x="36" y="158"/>
                    <a:pt x="0" y="23"/>
                  </a:cubicBezTo>
                  <a:cubicBezTo>
                    <a:pt x="0" y="23"/>
                    <a:pt x="103" y="0"/>
                    <a:pt x="145" y="85"/>
                  </a:cubicBezTo>
                  <a:lnTo>
                    <a:pt x="146" y="116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4" name="Freeform 465">
              <a:extLst>
                <a:ext uri="{FF2B5EF4-FFF2-40B4-BE49-F238E27FC236}">
                  <a16:creationId xmlns:a16="http://schemas.microsoft.com/office/drawing/2014/main" id="{BBC189D1-EFF1-42CF-A775-8A4795B44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271" y="4089947"/>
              <a:ext cx="126081" cy="136049"/>
            </a:xfrm>
            <a:custGeom>
              <a:avLst/>
              <a:gdLst>
                <a:gd name="T0" fmla="*/ 135 w 135"/>
                <a:gd name="T1" fmla="*/ 107 h 156"/>
                <a:gd name="T2" fmla="*/ 0 w 135"/>
                <a:gd name="T3" fmla="*/ 22 h 156"/>
                <a:gd name="T4" fmla="*/ 135 w 135"/>
                <a:gd name="T5" fmla="*/ 83 h 156"/>
                <a:gd name="T6" fmla="*/ 135 w 135"/>
                <a:gd name="T7" fmla="*/ 10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56">
                  <a:moveTo>
                    <a:pt x="135" y="107"/>
                  </a:moveTo>
                  <a:cubicBezTo>
                    <a:pt x="135" y="107"/>
                    <a:pt x="58" y="156"/>
                    <a:pt x="0" y="22"/>
                  </a:cubicBezTo>
                  <a:cubicBezTo>
                    <a:pt x="0" y="22"/>
                    <a:pt x="98" y="0"/>
                    <a:pt x="135" y="83"/>
                  </a:cubicBezTo>
                  <a:lnTo>
                    <a:pt x="135" y="107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466">
              <a:extLst>
                <a:ext uri="{FF2B5EF4-FFF2-40B4-BE49-F238E27FC236}">
                  <a16:creationId xmlns:a16="http://schemas.microsoft.com/office/drawing/2014/main" id="{D0E7FCCA-04BC-44F9-81C2-EB6AEB6E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578" y="4021660"/>
              <a:ext cx="136776" cy="139726"/>
            </a:xfrm>
            <a:custGeom>
              <a:avLst/>
              <a:gdLst>
                <a:gd name="T0" fmla="*/ 146 w 146"/>
                <a:gd name="T1" fmla="*/ 97 h 160"/>
                <a:gd name="T2" fmla="*/ 0 w 146"/>
                <a:gd name="T3" fmla="*/ 31 h 160"/>
                <a:gd name="T4" fmla="*/ 0 w 146"/>
                <a:gd name="T5" fmla="*/ 21 h 160"/>
                <a:gd name="T6" fmla="*/ 17 w 146"/>
                <a:gd name="T7" fmla="*/ 9 h 160"/>
                <a:gd name="T8" fmla="*/ 146 w 146"/>
                <a:gd name="T9" fmla="*/ 9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60">
                  <a:moveTo>
                    <a:pt x="146" y="97"/>
                  </a:moveTo>
                  <a:cubicBezTo>
                    <a:pt x="146" y="97"/>
                    <a:pt x="82" y="160"/>
                    <a:pt x="0" y="3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27" y="0"/>
                    <a:pt x="146" y="97"/>
                  </a:cubicBez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ABCC3F54-0371-4FBE-ADDF-B7F7B42E7155}"/>
              </a:ext>
            </a:extLst>
          </p:cNvPr>
          <p:cNvGrpSpPr/>
          <p:nvPr/>
        </p:nvGrpSpPr>
        <p:grpSpPr>
          <a:xfrm>
            <a:off x="1745004" y="3955145"/>
            <a:ext cx="1017470" cy="510660"/>
            <a:chOff x="4422775" y="531813"/>
            <a:chExt cx="3486151" cy="1874838"/>
          </a:xfrm>
          <a:solidFill>
            <a:schemeClr val="bg1"/>
          </a:solidFill>
        </p:grpSpPr>
        <p:sp>
          <p:nvSpPr>
            <p:cNvPr id="297" name="Freeform 278">
              <a:extLst>
                <a:ext uri="{FF2B5EF4-FFF2-40B4-BE49-F238E27FC236}">
                  <a16:creationId xmlns:a16="http://schemas.microsoft.com/office/drawing/2014/main" id="{C214C112-A658-4B89-B65C-83CEE7D2C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538" y="768351"/>
              <a:ext cx="36513" cy="88900"/>
            </a:xfrm>
            <a:custGeom>
              <a:avLst/>
              <a:gdLst>
                <a:gd name="T0" fmla="*/ 9 w 14"/>
                <a:gd name="T1" fmla="*/ 0 h 34"/>
                <a:gd name="T2" fmla="*/ 14 w 14"/>
                <a:gd name="T3" fmla="*/ 34 h 34"/>
                <a:gd name="T4" fmla="*/ 3 w 14"/>
                <a:gd name="T5" fmla="*/ 8 h 34"/>
                <a:gd name="T6" fmla="*/ 9 w 14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4">
                  <a:moveTo>
                    <a:pt x="9" y="0"/>
                  </a:moveTo>
                  <a:cubicBezTo>
                    <a:pt x="2" y="16"/>
                    <a:pt x="3" y="21"/>
                    <a:pt x="14" y="34"/>
                  </a:cubicBezTo>
                  <a:cubicBezTo>
                    <a:pt x="4" y="29"/>
                    <a:pt x="0" y="17"/>
                    <a:pt x="3" y="8"/>
                  </a:cubicBezTo>
                  <a:cubicBezTo>
                    <a:pt x="5" y="2"/>
                    <a:pt x="9" y="0"/>
                    <a:pt x="9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279">
              <a:extLst>
                <a:ext uri="{FF2B5EF4-FFF2-40B4-BE49-F238E27FC236}">
                  <a16:creationId xmlns:a16="http://schemas.microsoft.com/office/drawing/2014/main" id="{29ECA810-3A8B-44E1-953A-DE4C09E75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375" y="760413"/>
              <a:ext cx="38100" cy="104775"/>
            </a:xfrm>
            <a:custGeom>
              <a:avLst/>
              <a:gdLst>
                <a:gd name="T0" fmla="*/ 8 w 14"/>
                <a:gd name="T1" fmla="*/ 0 h 40"/>
                <a:gd name="T2" fmla="*/ 14 w 14"/>
                <a:gd name="T3" fmla="*/ 40 h 40"/>
                <a:gd name="T4" fmla="*/ 8 w 14"/>
                <a:gd name="T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40">
                  <a:moveTo>
                    <a:pt x="8" y="0"/>
                  </a:moveTo>
                  <a:cubicBezTo>
                    <a:pt x="7" y="8"/>
                    <a:pt x="3" y="21"/>
                    <a:pt x="14" y="40"/>
                  </a:cubicBezTo>
                  <a:cubicBezTo>
                    <a:pt x="2" y="30"/>
                    <a:pt x="0" y="8"/>
                    <a:pt x="8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280">
              <a:extLst>
                <a:ext uri="{FF2B5EF4-FFF2-40B4-BE49-F238E27FC236}">
                  <a16:creationId xmlns:a16="http://schemas.microsoft.com/office/drawing/2014/main" id="{734CBAB0-28CC-4E46-B595-F9F359CA2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5" y="769938"/>
              <a:ext cx="46038" cy="87313"/>
            </a:xfrm>
            <a:custGeom>
              <a:avLst/>
              <a:gdLst>
                <a:gd name="T0" fmla="*/ 5 w 17"/>
                <a:gd name="T1" fmla="*/ 0 h 33"/>
                <a:gd name="T2" fmla="*/ 16 w 17"/>
                <a:gd name="T3" fmla="*/ 33 h 33"/>
                <a:gd name="T4" fmla="*/ 17 w 17"/>
                <a:gd name="T5" fmla="*/ 33 h 33"/>
                <a:gd name="T6" fmla="*/ 5 w 17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3">
                  <a:moveTo>
                    <a:pt x="5" y="0"/>
                  </a:moveTo>
                  <a:cubicBezTo>
                    <a:pt x="5" y="22"/>
                    <a:pt x="11" y="25"/>
                    <a:pt x="16" y="33"/>
                  </a:cubicBezTo>
                  <a:cubicBezTo>
                    <a:pt x="16" y="33"/>
                    <a:pt x="17" y="33"/>
                    <a:pt x="17" y="33"/>
                  </a:cubicBezTo>
                  <a:cubicBezTo>
                    <a:pt x="4" y="28"/>
                    <a:pt x="0" y="9"/>
                    <a:pt x="5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0" name="Freeform 281">
              <a:extLst>
                <a:ext uri="{FF2B5EF4-FFF2-40B4-BE49-F238E27FC236}">
                  <a16:creationId xmlns:a16="http://schemas.microsoft.com/office/drawing/2014/main" id="{9DC27E72-FCE7-4329-9949-F155401EB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8038" y="722313"/>
              <a:ext cx="776288" cy="134938"/>
            </a:xfrm>
            <a:custGeom>
              <a:avLst/>
              <a:gdLst>
                <a:gd name="T0" fmla="*/ 223 w 294"/>
                <a:gd name="T1" fmla="*/ 2 h 51"/>
                <a:gd name="T2" fmla="*/ 249 w 294"/>
                <a:gd name="T3" fmla="*/ 1 h 51"/>
                <a:gd name="T4" fmla="*/ 294 w 294"/>
                <a:gd name="T5" fmla="*/ 1 h 51"/>
                <a:gd name="T6" fmla="*/ 107 w 294"/>
                <a:gd name="T7" fmla="*/ 23 h 51"/>
                <a:gd name="T8" fmla="*/ 0 w 294"/>
                <a:gd name="T9" fmla="*/ 51 h 51"/>
                <a:gd name="T10" fmla="*/ 223 w 294"/>
                <a:gd name="T11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4" h="51">
                  <a:moveTo>
                    <a:pt x="223" y="2"/>
                  </a:moveTo>
                  <a:cubicBezTo>
                    <a:pt x="239" y="1"/>
                    <a:pt x="234" y="2"/>
                    <a:pt x="249" y="1"/>
                  </a:cubicBezTo>
                  <a:cubicBezTo>
                    <a:pt x="272" y="0"/>
                    <a:pt x="293" y="1"/>
                    <a:pt x="294" y="1"/>
                  </a:cubicBezTo>
                  <a:cubicBezTo>
                    <a:pt x="240" y="5"/>
                    <a:pt x="204" y="4"/>
                    <a:pt x="107" y="23"/>
                  </a:cubicBezTo>
                  <a:cubicBezTo>
                    <a:pt x="56" y="34"/>
                    <a:pt x="37" y="40"/>
                    <a:pt x="0" y="51"/>
                  </a:cubicBezTo>
                  <a:cubicBezTo>
                    <a:pt x="71" y="24"/>
                    <a:pt x="150" y="8"/>
                    <a:pt x="223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282">
              <a:extLst>
                <a:ext uri="{FF2B5EF4-FFF2-40B4-BE49-F238E27FC236}">
                  <a16:creationId xmlns:a16="http://schemas.microsoft.com/office/drawing/2014/main" id="{2B15346C-EA18-4FB5-BD1B-FC444EB61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7213" y="531813"/>
              <a:ext cx="1216025" cy="531813"/>
            </a:xfrm>
            <a:custGeom>
              <a:avLst/>
              <a:gdLst>
                <a:gd name="T0" fmla="*/ 18 w 460"/>
                <a:gd name="T1" fmla="*/ 201 h 201"/>
                <a:gd name="T2" fmla="*/ 22 w 460"/>
                <a:gd name="T3" fmla="*/ 200 h 201"/>
                <a:gd name="T4" fmla="*/ 120 w 460"/>
                <a:gd name="T5" fmla="*/ 135 h 201"/>
                <a:gd name="T6" fmla="*/ 127 w 460"/>
                <a:gd name="T7" fmla="*/ 150 h 201"/>
                <a:gd name="T8" fmla="*/ 186 w 460"/>
                <a:gd name="T9" fmla="*/ 139 h 201"/>
                <a:gd name="T10" fmla="*/ 189 w 460"/>
                <a:gd name="T11" fmla="*/ 154 h 201"/>
                <a:gd name="T12" fmla="*/ 192 w 460"/>
                <a:gd name="T13" fmla="*/ 154 h 201"/>
                <a:gd name="T14" fmla="*/ 194 w 460"/>
                <a:gd name="T15" fmla="*/ 153 h 201"/>
                <a:gd name="T16" fmla="*/ 299 w 460"/>
                <a:gd name="T17" fmla="*/ 141 h 201"/>
                <a:gd name="T18" fmla="*/ 287 w 460"/>
                <a:gd name="T19" fmla="*/ 195 h 201"/>
                <a:gd name="T20" fmla="*/ 315 w 460"/>
                <a:gd name="T21" fmla="*/ 178 h 201"/>
                <a:gd name="T22" fmla="*/ 411 w 460"/>
                <a:gd name="T23" fmla="*/ 122 h 201"/>
                <a:gd name="T24" fmla="*/ 412 w 460"/>
                <a:gd name="T25" fmla="*/ 112 h 201"/>
                <a:gd name="T26" fmla="*/ 457 w 460"/>
                <a:gd name="T27" fmla="*/ 94 h 201"/>
                <a:gd name="T28" fmla="*/ 299 w 460"/>
                <a:gd name="T29" fmla="*/ 43 h 201"/>
                <a:gd name="T30" fmla="*/ 252 w 460"/>
                <a:gd name="T31" fmla="*/ 5 h 201"/>
                <a:gd name="T32" fmla="*/ 233 w 460"/>
                <a:gd name="T33" fmla="*/ 0 h 201"/>
                <a:gd name="T34" fmla="*/ 232 w 460"/>
                <a:gd name="T35" fmla="*/ 56 h 201"/>
                <a:gd name="T36" fmla="*/ 133 w 460"/>
                <a:gd name="T37" fmla="*/ 95 h 201"/>
                <a:gd name="T38" fmla="*/ 120 w 460"/>
                <a:gd name="T39" fmla="*/ 100 h 201"/>
                <a:gd name="T40" fmla="*/ 0 w 460"/>
                <a:gd name="T41" fmla="*/ 59 h 201"/>
                <a:gd name="T42" fmla="*/ 130 w 460"/>
                <a:gd name="T43" fmla="*/ 96 h 201"/>
                <a:gd name="T44" fmla="*/ 118 w 460"/>
                <a:gd name="T45" fmla="*/ 94 h 201"/>
                <a:gd name="T46" fmla="*/ 292 w 460"/>
                <a:gd name="T47" fmla="*/ 43 h 201"/>
                <a:gd name="T48" fmla="*/ 245 w 460"/>
                <a:gd name="T49" fmla="*/ 38 h 201"/>
                <a:gd name="T50" fmla="*/ 292 w 460"/>
                <a:gd name="T51" fmla="*/ 43 h 201"/>
                <a:gd name="T52" fmla="*/ 139 w 460"/>
                <a:gd name="T53" fmla="*/ 136 h 201"/>
                <a:gd name="T54" fmla="*/ 128 w 460"/>
                <a:gd name="T55" fmla="*/ 146 h 201"/>
                <a:gd name="T56" fmla="*/ 128 w 460"/>
                <a:gd name="T57" fmla="*/ 146 h 201"/>
                <a:gd name="T58" fmla="*/ 120 w 460"/>
                <a:gd name="T59" fmla="*/ 138 h 201"/>
                <a:gd name="T60" fmla="*/ 75 w 460"/>
                <a:gd name="T61" fmla="*/ 128 h 201"/>
                <a:gd name="T62" fmla="*/ 401 w 460"/>
                <a:gd name="T63" fmla="*/ 61 h 201"/>
                <a:gd name="T64" fmla="*/ 434 w 460"/>
                <a:gd name="T65" fmla="*/ 108 h 201"/>
                <a:gd name="T66" fmla="*/ 394 w 460"/>
                <a:gd name="T67" fmla="*/ 114 h 201"/>
                <a:gd name="T68" fmla="*/ 394 w 460"/>
                <a:gd name="T69" fmla="*/ 114 h 201"/>
                <a:gd name="T70" fmla="*/ 413 w 460"/>
                <a:gd name="T71" fmla="*/ 118 h 201"/>
                <a:gd name="T72" fmla="*/ 396 w 460"/>
                <a:gd name="T73" fmla="*/ 124 h 201"/>
                <a:gd name="T74" fmla="*/ 344 w 460"/>
                <a:gd name="T75" fmla="*/ 138 h 201"/>
                <a:gd name="T76" fmla="*/ 345 w 460"/>
                <a:gd name="T77" fmla="*/ 134 h 201"/>
                <a:gd name="T78" fmla="*/ 303 w 460"/>
                <a:gd name="T79" fmla="*/ 123 h 201"/>
                <a:gd name="T80" fmla="*/ 304 w 460"/>
                <a:gd name="T81" fmla="*/ 124 h 201"/>
                <a:gd name="T82" fmla="*/ 332 w 460"/>
                <a:gd name="T83" fmla="*/ 155 h 201"/>
                <a:gd name="T84" fmla="*/ 301 w 460"/>
                <a:gd name="T85" fmla="*/ 158 h 201"/>
                <a:gd name="T86" fmla="*/ 297 w 460"/>
                <a:gd name="T87" fmla="*/ 133 h 201"/>
                <a:gd name="T88" fmla="*/ 298 w 460"/>
                <a:gd name="T89" fmla="*/ 137 h 201"/>
                <a:gd name="T90" fmla="*/ 217 w 460"/>
                <a:gd name="T91" fmla="*/ 137 h 201"/>
                <a:gd name="T92" fmla="*/ 218 w 460"/>
                <a:gd name="T93" fmla="*/ 134 h 201"/>
                <a:gd name="T94" fmla="*/ 192 w 460"/>
                <a:gd name="T95" fmla="*/ 152 h 201"/>
                <a:gd name="T96" fmla="*/ 154 w 460"/>
                <a:gd name="T97" fmla="*/ 130 h 201"/>
                <a:gd name="T98" fmla="*/ 75 w 460"/>
                <a:gd name="T99" fmla="*/ 128 h 201"/>
                <a:gd name="T100" fmla="*/ 86 w 460"/>
                <a:gd name="T101" fmla="*/ 118 h 201"/>
                <a:gd name="T102" fmla="*/ 21 w 460"/>
                <a:gd name="T103" fmla="*/ 69 h 201"/>
                <a:gd name="T104" fmla="*/ 69 w 460"/>
                <a:gd name="T105" fmla="*/ 127 h 201"/>
                <a:gd name="T106" fmla="*/ 37 w 460"/>
                <a:gd name="T107" fmla="*/ 188 h 201"/>
                <a:gd name="T108" fmla="*/ 72 w 460"/>
                <a:gd name="T109" fmla="*/ 129 h 201"/>
                <a:gd name="T110" fmla="*/ 25 w 460"/>
                <a:gd name="T111" fmla="*/ 198 h 201"/>
                <a:gd name="T112" fmla="*/ 59 w 460"/>
                <a:gd name="T113" fmla="*/ 12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0" h="201">
                  <a:moveTo>
                    <a:pt x="58" y="123"/>
                  </a:moveTo>
                  <a:cubicBezTo>
                    <a:pt x="47" y="172"/>
                    <a:pt x="29" y="188"/>
                    <a:pt x="18" y="201"/>
                  </a:cubicBezTo>
                  <a:cubicBezTo>
                    <a:pt x="20" y="201"/>
                    <a:pt x="22" y="201"/>
                    <a:pt x="22" y="200"/>
                  </a:cubicBezTo>
                  <a:cubicBezTo>
                    <a:pt x="22" y="200"/>
                    <a:pt x="22" y="200"/>
                    <a:pt x="22" y="200"/>
                  </a:cubicBezTo>
                  <a:cubicBezTo>
                    <a:pt x="52" y="193"/>
                    <a:pt x="81" y="165"/>
                    <a:pt x="93" y="134"/>
                  </a:cubicBezTo>
                  <a:cubicBezTo>
                    <a:pt x="106" y="135"/>
                    <a:pt x="99" y="133"/>
                    <a:pt x="120" y="135"/>
                  </a:cubicBezTo>
                  <a:cubicBezTo>
                    <a:pt x="117" y="137"/>
                    <a:pt x="117" y="138"/>
                    <a:pt x="120" y="140"/>
                  </a:cubicBezTo>
                  <a:cubicBezTo>
                    <a:pt x="125" y="143"/>
                    <a:pt x="126" y="147"/>
                    <a:pt x="127" y="150"/>
                  </a:cubicBezTo>
                  <a:cubicBezTo>
                    <a:pt x="132" y="147"/>
                    <a:pt x="137" y="143"/>
                    <a:pt x="141" y="137"/>
                  </a:cubicBezTo>
                  <a:cubicBezTo>
                    <a:pt x="162" y="138"/>
                    <a:pt x="176" y="139"/>
                    <a:pt x="186" y="139"/>
                  </a:cubicBezTo>
                  <a:cubicBezTo>
                    <a:pt x="190" y="145"/>
                    <a:pt x="190" y="149"/>
                    <a:pt x="189" y="154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90" y="154"/>
                    <a:pt x="191" y="154"/>
                    <a:pt x="192" y="154"/>
                  </a:cubicBezTo>
                  <a:cubicBezTo>
                    <a:pt x="193" y="154"/>
                    <a:pt x="194" y="154"/>
                    <a:pt x="194" y="154"/>
                  </a:cubicBezTo>
                  <a:cubicBezTo>
                    <a:pt x="194" y="153"/>
                    <a:pt x="194" y="153"/>
                    <a:pt x="194" y="153"/>
                  </a:cubicBezTo>
                  <a:cubicBezTo>
                    <a:pt x="202" y="152"/>
                    <a:pt x="207" y="145"/>
                    <a:pt x="212" y="140"/>
                  </a:cubicBezTo>
                  <a:cubicBezTo>
                    <a:pt x="217" y="140"/>
                    <a:pt x="253" y="142"/>
                    <a:pt x="299" y="141"/>
                  </a:cubicBezTo>
                  <a:cubicBezTo>
                    <a:pt x="301" y="164"/>
                    <a:pt x="281" y="186"/>
                    <a:pt x="284" y="193"/>
                  </a:cubicBezTo>
                  <a:cubicBezTo>
                    <a:pt x="285" y="194"/>
                    <a:pt x="285" y="195"/>
                    <a:pt x="287" y="195"/>
                  </a:cubicBezTo>
                  <a:cubicBezTo>
                    <a:pt x="288" y="196"/>
                    <a:pt x="289" y="195"/>
                    <a:pt x="290" y="195"/>
                  </a:cubicBezTo>
                  <a:cubicBezTo>
                    <a:pt x="292" y="194"/>
                    <a:pt x="306" y="185"/>
                    <a:pt x="315" y="178"/>
                  </a:cubicBezTo>
                  <a:cubicBezTo>
                    <a:pt x="327" y="168"/>
                    <a:pt x="338" y="156"/>
                    <a:pt x="343" y="141"/>
                  </a:cubicBezTo>
                  <a:cubicBezTo>
                    <a:pt x="366" y="140"/>
                    <a:pt x="390" y="132"/>
                    <a:pt x="411" y="122"/>
                  </a:cubicBezTo>
                  <a:cubicBezTo>
                    <a:pt x="412" y="121"/>
                    <a:pt x="420" y="118"/>
                    <a:pt x="420" y="116"/>
                  </a:cubicBezTo>
                  <a:cubicBezTo>
                    <a:pt x="420" y="114"/>
                    <a:pt x="413" y="112"/>
                    <a:pt x="412" y="112"/>
                  </a:cubicBezTo>
                  <a:cubicBezTo>
                    <a:pt x="421" y="113"/>
                    <a:pt x="430" y="112"/>
                    <a:pt x="439" y="109"/>
                  </a:cubicBezTo>
                  <a:cubicBezTo>
                    <a:pt x="446" y="106"/>
                    <a:pt x="454" y="102"/>
                    <a:pt x="457" y="94"/>
                  </a:cubicBezTo>
                  <a:cubicBezTo>
                    <a:pt x="460" y="88"/>
                    <a:pt x="458" y="88"/>
                    <a:pt x="445" y="79"/>
                  </a:cubicBezTo>
                  <a:cubicBezTo>
                    <a:pt x="411" y="55"/>
                    <a:pt x="353" y="39"/>
                    <a:pt x="299" y="43"/>
                  </a:cubicBezTo>
                  <a:cubicBezTo>
                    <a:pt x="285" y="41"/>
                    <a:pt x="279" y="27"/>
                    <a:pt x="270" y="17"/>
                  </a:cubicBezTo>
                  <a:cubicBezTo>
                    <a:pt x="265" y="12"/>
                    <a:pt x="259" y="7"/>
                    <a:pt x="252" y="5"/>
                  </a:cubicBezTo>
                  <a:cubicBezTo>
                    <a:pt x="249" y="3"/>
                    <a:pt x="245" y="2"/>
                    <a:pt x="242" y="1"/>
                  </a:cubicBezTo>
                  <a:cubicBezTo>
                    <a:pt x="239" y="0"/>
                    <a:pt x="236" y="0"/>
                    <a:pt x="233" y="0"/>
                  </a:cubicBezTo>
                  <a:cubicBezTo>
                    <a:pt x="232" y="0"/>
                    <a:pt x="244" y="17"/>
                    <a:pt x="242" y="35"/>
                  </a:cubicBezTo>
                  <a:cubicBezTo>
                    <a:pt x="241" y="42"/>
                    <a:pt x="238" y="51"/>
                    <a:pt x="232" y="56"/>
                  </a:cubicBezTo>
                  <a:cubicBezTo>
                    <a:pt x="225" y="58"/>
                    <a:pt x="218" y="60"/>
                    <a:pt x="210" y="63"/>
                  </a:cubicBezTo>
                  <a:cubicBezTo>
                    <a:pt x="181" y="73"/>
                    <a:pt x="160" y="82"/>
                    <a:pt x="133" y="95"/>
                  </a:cubicBezTo>
                  <a:cubicBezTo>
                    <a:pt x="125" y="91"/>
                    <a:pt x="122" y="92"/>
                    <a:pt x="113" y="92"/>
                  </a:cubicBezTo>
                  <a:cubicBezTo>
                    <a:pt x="118" y="96"/>
                    <a:pt x="117" y="97"/>
                    <a:pt x="120" y="100"/>
                  </a:cubicBezTo>
                  <a:cubicBezTo>
                    <a:pt x="92" y="114"/>
                    <a:pt x="92" y="114"/>
                    <a:pt x="88" y="117"/>
                  </a:cubicBezTo>
                  <a:cubicBezTo>
                    <a:pt x="61" y="73"/>
                    <a:pt x="10" y="61"/>
                    <a:pt x="0" y="59"/>
                  </a:cubicBezTo>
                  <a:cubicBezTo>
                    <a:pt x="10" y="69"/>
                    <a:pt x="35" y="78"/>
                    <a:pt x="58" y="123"/>
                  </a:cubicBezTo>
                  <a:close/>
                  <a:moveTo>
                    <a:pt x="130" y="96"/>
                  </a:moveTo>
                  <a:cubicBezTo>
                    <a:pt x="126" y="98"/>
                    <a:pt x="124" y="99"/>
                    <a:pt x="122" y="99"/>
                  </a:cubicBezTo>
                  <a:cubicBezTo>
                    <a:pt x="120" y="95"/>
                    <a:pt x="116" y="93"/>
                    <a:pt x="118" y="94"/>
                  </a:cubicBezTo>
                  <a:cubicBezTo>
                    <a:pt x="118" y="94"/>
                    <a:pt x="123" y="94"/>
                    <a:pt x="130" y="96"/>
                  </a:cubicBezTo>
                  <a:close/>
                  <a:moveTo>
                    <a:pt x="292" y="43"/>
                  </a:moveTo>
                  <a:cubicBezTo>
                    <a:pt x="277" y="45"/>
                    <a:pt x="259" y="48"/>
                    <a:pt x="237" y="54"/>
                  </a:cubicBezTo>
                  <a:cubicBezTo>
                    <a:pt x="241" y="50"/>
                    <a:pt x="243" y="44"/>
                    <a:pt x="245" y="38"/>
                  </a:cubicBezTo>
                  <a:cubicBezTo>
                    <a:pt x="247" y="26"/>
                    <a:pt x="243" y="14"/>
                    <a:pt x="238" y="3"/>
                  </a:cubicBezTo>
                  <a:cubicBezTo>
                    <a:pt x="273" y="11"/>
                    <a:pt x="274" y="35"/>
                    <a:pt x="292" y="43"/>
                  </a:cubicBezTo>
                  <a:close/>
                  <a:moveTo>
                    <a:pt x="122" y="135"/>
                  </a:moveTo>
                  <a:cubicBezTo>
                    <a:pt x="127" y="136"/>
                    <a:pt x="133" y="136"/>
                    <a:pt x="139" y="136"/>
                  </a:cubicBezTo>
                  <a:cubicBezTo>
                    <a:pt x="133" y="142"/>
                    <a:pt x="130" y="145"/>
                    <a:pt x="128" y="146"/>
                  </a:cubicBezTo>
                  <a:cubicBezTo>
                    <a:pt x="128" y="146"/>
                    <a:pt x="128" y="146"/>
                    <a:pt x="128" y="146"/>
                  </a:cubicBezTo>
                  <a:cubicBezTo>
                    <a:pt x="128" y="146"/>
                    <a:pt x="128" y="146"/>
                    <a:pt x="128" y="146"/>
                  </a:cubicBezTo>
                  <a:cubicBezTo>
                    <a:pt x="128" y="146"/>
                    <a:pt x="128" y="146"/>
                    <a:pt x="128" y="146"/>
                  </a:cubicBezTo>
                  <a:cubicBezTo>
                    <a:pt x="127" y="144"/>
                    <a:pt x="126" y="143"/>
                    <a:pt x="125" y="142"/>
                  </a:cubicBezTo>
                  <a:cubicBezTo>
                    <a:pt x="123" y="139"/>
                    <a:pt x="121" y="138"/>
                    <a:pt x="120" y="138"/>
                  </a:cubicBezTo>
                  <a:cubicBezTo>
                    <a:pt x="120" y="138"/>
                    <a:pt x="121" y="137"/>
                    <a:pt x="122" y="135"/>
                  </a:cubicBezTo>
                  <a:close/>
                  <a:moveTo>
                    <a:pt x="75" y="128"/>
                  </a:moveTo>
                  <a:cubicBezTo>
                    <a:pt x="74" y="124"/>
                    <a:pt x="159" y="83"/>
                    <a:pt x="223" y="62"/>
                  </a:cubicBezTo>
                  <a:cubicBezTo>
                    <a:pt x="232" y="59"/>
                    <a:pt x="310" y="27"/>
                    <a:pt x="401" y="61"/>
                  </a:cubicBezTo>
                  <a:cubicBezTo>
                    <a:pt x="429" y="71"/>
                    <a:pt x="454" y="88"/>
                    <a:pt x="455" y="90"/>
                  </a:cubicBezTo>
                  <a:cubicBezTo>
                    <a:pt x="459" y="94"/>
                    <a:pt x="438" y="107"/>
                    <a:pt x="434" y="108"/>
                  </a:cubicBezTo>
                  <a:cubicBezTo>
                    <a:pt x="420" y="111"/>
                    <a:pt x="411" y="109"/>
                    <a:pt x="400" y="111"/>
                  </a:cubicBezTo>
                  <a:cubicBezTo>
                    <a:pt x="397" y="112"/>
                    <a:pt x="395" y="113"/>
                    <a:pt x="394" y="114"/>
                  </a:cubicBezTo>
                  <a:cubicBezTo>
                    <a:pt x="393" y="114"/>
                    <a:pt x="392" y="114"/>
                    <a:pt x="392" y="114"/>
                  </a:cubicBezTo>
                  <a:cubicBezTo>
                    <a:pt x="392" y="114"/>
                    <a:pt x="393" y="114"/>
                    <a:pt x="394" y="114"/>
                  </a:cubicBezTo>
                  <a:cubicBezTo>
                    <a:pt x="398" y="114"/>
                    <a:pt x="401" y="112"/>
                    <a:pt x="405" y="113"/>
                  </a:cubicBezTo>
                  <a:cubicBezTo>
                    <a:pt x="411" y="113"/>
                    <a:pt x="418" y="115"/>
                    <a:pt x="413" y="118"/>
                  </a:cubicBezTo>
                  <a:cubicBezTo>
                    <a:pt x="410" y="119"/>
                    <a:pt x="408" y="119"/>
                    <a:pt x="406" y="120"/>
                  </a:cubicBezTo>
                  <a:cubicBezTo>
                    <a:pt x="403" y="122"/>
                    <a:pt x="399" y="123"/>
                    <a:pt x="396" y="124"/>
                  </a:cubicBezTo>
                  <a:cubicBezTo>
                    <a:pt x="378" y="132"/>
                    <a:pt x="364" y="135"/>
                    <a:pt x="344" y="140"/>
                  </a:cubicBezTo>
                  <a:cubicBezTo>
                    <a:pt x="344" y="140"/>
                    <a:pt x="344" y="139"/>
                    <a:pt x="344" y="138"/>
                  </a:cubicBezTo>
                  <a:cubicBezTo>
                    <a:pt x="363" y="134"/>
                    <a:pt x="376" y="128"/>
                    <a:pt x="376" y="128"/>
                  </a:cubicBezTo>
                  <a:cubicBezTo>
                    <a:pt x="368" y="130"/>
                    <a:pt x="358" y="132"/>
                    <a:pt x="345" y="134"/>
                  </a:cubicBezTo>
                  <a:cubicBezTo>
                    <a:pt x="346" y="127"/>
                    <a:pt x="344" y="117"/>
                    <a:pt x="337" y="115"/>
                  </a:cubicBezTo>
                  <a:cubicBezTo>
                    <a:pt x="333" y="114"/>
                    <a:pt x="339" y="115"/>
                    <a:pt x="303" y="123"/>
                  </a:cubicBezTo>
                  <a:cubicBezTo>
                    <a:pt x="303" y="123"/>
                    <a:pt x="300" y="124"/>
                    <a:pt x="299" y="124"/>
                  </a:cubicBezTo>
                  <a:cubicBezTo>
                    <a:pt x="300" y="124"/>
                    <a:pt x="301" y="124"/>
                    <a:pt x="304" y="124"/>
                  </a:cubicBezTo>
                  <a:cubicBezTo>
                    <a:pt x="325" y="124"/>
                    <a:pt x="333" y="111"/>
                    <a:pt x="341" y="122"/>
                  </a:cubicBezTo>
                  <a:cubicBezTo>
                    <a:pt x="347" y="130"/>
                    <a:pt x="339" y="146"/>
                    <a:pt x="332" y="155"/>
                  </a:cubicBezTo>
                  <a:cubicBezTo>
                    <a:pt x="321" y="171"/>
                    <a:pt x="289" y="195"/>
                    <a:pt x="286" y="194"/>
                  </a:cubicBezTo>
                  <a:cubicBezTo>
                    <a:pt x="281" y="188"/>
                    <a:pt x="295" y="180"/>
                    <a:pt x="301" y="158"/>
                  </a:cubicBezTo>
                  <a:cubicBezTo>
                    <a:pt x="303" y="149"/>
                    <a:pt x="304" y="133"/>
                    <a:pt x="294" y="126"/>
                  </a:cubicBezTo>
                  <a:cubicBezTo>
                    <a:pt x="294" y="127"/>
                    <a:pt x="296" y="129"/>
                    <a:pt x="297" y="133"/>
                  </a:cubicBezTo>
                  <a:cubicBezTo>
                    <a:pt x="275" y="134"/>
                    <a:pt x="263" y="135"/>
                    <a:pt x="263" y="135"/>
                  </a:cubicBezTo>
                  <a:cubicBezTo>
                    <a:pt x="263" y="135"/>
                    <a:pt x="276" y="136"/>
                    <a:pt x="298" y="137"/>
                  </a:cubicBezTo>
                  <a:cubicBezTo>
                    <a:pt x="298" y="137"/>
                    <a:pt x="298" y="138"/>
                    <a:pt x="299" y="139"/>
                  </a:cubicBezTo>
                  <a:cubicBezTo>
                    <a:pt x="282" y="138"/>
                    <a:pt x="257" y="138"/>
                    <a:pt x="217" y="137"/>
                  </a:cubicBezTo>
                  <a:cubicBezTo>
                    <a:pt x="222" y="133"/>
                    <a:pt x="269" y="126"/>
                    <a:pt x="288" y="126"/>
                  </a:cubicBezTo>
                  <a:cubicBezTo>
                    <a:pt x="268" y="122"/>
                    <a:pt x="237" y="128"/>
                    <a:pt x="218" y="134"/>
                  </a:cubicBezTo>
                  <a:cubicBezTo>
                    <a:pt x="208" y="136"/>
                    <a:pt x="202" y="149"/>
                    <a:pt x="193" y="151"/>
                  </a:cubicBezTo>
                  <a:cubicBezTo>
                    <a:pt x="193" y="151"/>
                    <a:pt x="192" y="152"/>
                    <a:pt x="192" y="152"/>
                  </a:cubicBezTo>
                  <a:cubicBezTo>
                    <a:pt x="192" y="151"/>
                    <a:pt x="194" y="141"/>
                    <a:pt x="188" y="136"/>
                  </a:cubicBezTo>
                  <a:cubicBezTo>
                    <a:pt x="175" y="123"/>
                    <a:pt x="155" y="130"/>
                    <a:pt x="154" y="130"/>
                  </a:cubicBezTo>
                  <a:cubicBezTo>
                    <a:pt x="163" y="131"/>
                    <a:pt x="174" y="130"/>
                    <a:pt x="182" y="135"/>
                  </a:cubicBezTo>
                  <a:cubicBezTo>
                    <a:pt x="70" y="131"/>
                    <a:pt x="78" y="130"/>
                    <a:pt x="75" y="128"/>
                  </a:cubicBezTo>
                  <a:close/>
                  <a:moveTo>
                    <a:pt x="9" y="63"/>
                  </a:moveTo>
                  <a:cubicBezTo>
                    <a:pt x="49" y="76"/>
                    <a:pt x="70" y="98"/>
                    <a:pt x="86" y="118"/>
                  </a:cubicBezTo>
                  <a:cubicBezTo>
                    <a:pt x="84" y="119"/>
                    <a:pt x="75" y="123"/>
                    <a:pt x="73" y="127"/>
                  </a:cubicBezTo>
                  <a:cubicBezTo>
                    <a:pt x="57" y="113"/>
                    <a:pt x="60" y="88"/>
                    <a:pt x="21" y="69"/>
                  </a:cubicBezTo>
                  <a:cubicBezTo>
                    <a:pt x="21" y="69"/>
                    <a:pt x="21" y="69"/>
                    <a:pt x="22" y="69"/>
                  </a:cubicBezTo>
                  <a:cubicBezTo>
                    <a:pt x="55" y="88"/>
                    <a:pt x="56" y="114"/>
                    <a:pt x="69" y="127"/>
                  </a:cubicBezTo>
                  <a:cubicBezTo>
                    <a:pt x="62" y="149"/>
                    <a:pt x="52" y="167"/>
                    <a:pt x="40" y="184"/>
                  </a:cubicBezTo>
                  <a:cubicBezTo>
                    <a:pt x="38" y="187"/>
                    <a:pt x="37" y="188"/>
                    <a:pt x="37" y="188"/>
                  </a:cubicBezTo>
                  <a:cubicBezTo>
                    <a:pt x="37" y="188"/>
                    <a:pt x="38" y="187"/>
                    <a:pt x="40" y="185"/>
                  </a:cubicBezTo>
                  <a:cubicBezTo>
                    <a:pt x="53" y="169"/>
                    <a:pt x="64" y="151"/>
                    <a:pt x="72" y="129"/>
                  </a:cubicBezTo>
                  <a:cubicBezTo>
                    <a:pt x="77" y="132"/>
                    <a:pt x="83" y="133"/>
                    <a:pt x="88" y="134"/>
                  </a:cubicBezTo>
                  <a:cubicBezTo>
                    <a:pt x="76" y="179"/>
                    <a:pt x="27" y="197"/>
                    <a:pt x="25" y="198"/>
                  </a:cubicBezTo>
                  <a:cubicBezTo>
                    <a:pt x="54" y="168"/>
                    <a:pt x="61" y="126"/>
                    <a:pt x="59" y="123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59" y="115"/>
                    <a:pt x="33" y="77"/>
                    <a:pt x="9" y="6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283">
              <a:extLst>
                <a:ext uri="{FF2B5EF4-FFF2-40B4-BE49-F238E27FC236}">
                  <a16:creationId xmlns:a16="http://schemas.microsoft.com/office/drawing/2014/main" id="{9FBB1831-67BD-4834-94F6-2F83AD2C18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6238" y="736601"/>
              <a:ext cx="33338" cy="28575"/>
            </a:xfrm>
            <a:custGeom>
              <a:avLst/>
              <a:gdLst>
                <a:gd name="T0" fmla="*/ 3 w 13"/>
                <a:gd name="T1" fmla="*/ 3 h 11"/>
                <a:gd name="T2" fmla="*/ 11 w 13"/>
                <a:gd name="T3" fmla="*/ 8 h 11"/>
                <a:gd name="T4" fmla="*/ 8 w 13"/>
                <a:gd name="T5" fmla="*/ 1 h 11"/>
                <a:gd name="T6" fmla="*/ 3 w 13"/>
                <a:gd name="T7" fmla="*/ 3 h 11"/>
                <a:gd name="T8" fmla="*/ 9 w 13"/>
                <a:gd name="T9" fmla="*/ 3 h 11"/>
                <a:gd name="T10" fmla="*/ 10 w 13"/>
                <a:gd name="T11" fmla="*/ 7 h 11"/>
                <a:gd name="T12" fmla="*/ 9 w 13"/>
                <a:gd name="T1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1">
                  <a:moveTo>
                    <a:pt x="3" y="3"/>
                  </a:moveTo>
                  <a:cubicBezTo>
                    <a:pt x="0" y="8"/>
                    <a:pt x="8" y="11"/>
                    <a:pt x="11" y="8"/>
                  </a:cubicBezTo>
                  <a:cubicBezTo>
                    <a:pt x="13" y="5"/>
                    <a:pt x="13" y="2"/>
                    <a:pt x="8" y="1"/>
                  </a:cubicBezTo>
                  <a:cubicBezTo>
                    <a:pt x="6" y="0"/>
                    <a:pt x="4" y="1"/>
                    <a:pt x="3" y="3"/>
                  </a:cubicBezTo>
                  <a:close/>
                  <a:moveTo>
                    <a:pt x="9" y="3"/>
                  </a:moveTo>
                  <a:cubicBezTo>
                    <a:pt x="12" y="3"/>
                    <a:pt x="12" y="7"/>
                    <a:pt x="10" y="7"/>
                  </a:cubicBezTo>
                  <a:cubicBezTo>
                    <a:pt x="7" y="7"/>
                    <a:pt x="7" y="4"/>
                    <a:pt x="9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3" name="Freeform 284">
              <a:extLst>
                <a:ext uri="{FF2B5EF4-FFF2-40B4-BE49-F238E27FC236}">
                  <a16:creationId xmlns:a16="http://schemas.microsoft.com/office/drawing/2014/main" id="{E37179B2-D1CE-408B-8B04-E4EF6634B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0" y="638176"/>
              <a:ext cx="334963" cy="55563"/>
            </a:xfrm>
            <a:custGeom>
              <a:avLst/>
              <a:gdLst>
                <a:gd name="T0" fmla="*/ 3 w 127"/>
                <a:gd name="T1" fmla="*/ 16 h 21"/>
                <a:gd name="T2" fmla="*/ 0 w 127"/>
                <a:gd name="T3" fmla="*/ 16 h 21"/>
                <a:gd name="T4" fmla="*/ 3 w 127"/>
                <a:gd name="T5" fmla="*/ 15 h 21"/>
                <a:gd name="T6" fmla="*/ 127 w 127"/>
                <a:gd name="T7" fmla="*/ 21 h 21"/>
                <a:gd name="T8" fmla="*/ 3 w 127"/>
                <a:gd name="T9" fmla="*/ 1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21">
                  <a:moveTo>
                    <a:pt x="3" y="16"/>
                  </a:moveTo>
                  <a:cubicBezTo>
                    <a:pt x="1" y="16"/>
                    <a:pt x="0" y="16"/>
                    <a:pt x="0" y="16"/>
                  </a:cubicBezTo>
                  <a:cubicBezTo>
                    <a:pt x="0" y="16"/>
                    <a:pt x="1" y="16"/>
                    <a:pt x="3" y="15"/>
                  </a:cubicBezTo>
                  <a:cubicBezTo>
                    <a:pt x="70" y="0"/>
                    <a:pt x="126" y="21"/>
                    <a:pt x="127" y="21"/>
                  </a:cubicBezTo>
                  <a:cubicBezTo>
                    <a:pt x="117" y="20"/>
                    <a:pt x="79" y="6"/>
                    <a:pt x="3" y="1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4" name="Freeform 285">
              <a:extLst>
                <a:ext uri="{FF2B5EF4-FFF2-40B4-BE49-F238E27FC236}">
                  <a16:creationId xmlns:a16="http://schemas.microsoft.com/office/drawing/2014/main" id="{50B9D4B6-34D2-4694-9285-D5C8CF0A8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1913" y="857251"/>
              <a:ext cx="92075" cy="22225"/>
            </a:xfrm>
            <a:custGeom>
              <a:avLst/>
              <a:gdLst>
                <a:gd name="T0" fmla="*/ 12 w 35"/>
                <a:gd name="T1" fmla="*/ 4 h 8"/>
                <a:gd name="T2" fmla="*/ 11 w 35"/>
                <a:gd name="T3" fmla="*/ 4 h 8"/>
                <a:gd name="T4" fmla="*/ 12 w 35"/>
                <a:gd name="T5" fmla="*/ 3 h 8"/>
                <a:gd name="T6" fmla="*/ 35 w 35"/>
                <a:gd name="T7" fmla="*/ 0 h 8"/>
                <a:gd name="T8" fmla="*/ 12 w 35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8">
                  <a:moveTo>
                    <a:pt x="12" y="4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2" y="3"/>
                  </a:cubicBezTo>
                  <a:cubicBezTo>
                    <a:pt x="19" y="2"/>
                    <a:pt x="0" y="6"/>
                    <a:pt x="35" y="0"/>
                  </a:cubicBezTo>
                  <a:cubicBezTo>
                    <a:pt x="35" y="0"/>
                    <a:pt x="23" y="8"/>
                    <a:pt x="1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5" name="Freeform 286">
              <a:extLst>
                <a:ext uri="{FF2B5EF4-FFF2-40B4-BE49-F238E27FC236}">
                  <a16:creationId xmlns:a16="http://schemas.microsoft.com/office/drawing/2014/main" id="{DDC03F31-9480-47F1-8308-666A7FE7F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325" y="777876"/>
              <a:ext cx="34925" cy="23813"/>
            </a:xfrm>
            <a:custGeom>
              <a:avLst/>
              <a:gdLst>
                <a:gd name="T0" fmla="*/ 8 w 13"/>
                <a:gd name="T1" fmla="*/ 1 h 9"/>
                <a:gd name="T2" fmla="*/ 13 w 13"/>
                <a:gd name="T3" fmla="*/ 0 h 9"/>
                <a:gd name="T4" fmla="*/ 13 w 13"/>
                <a:gd name="T5" fmla="*/ 2 h 9"/>
                <a:gd name="T6" fmla="*/ 10 w 13"/>
                <a:gd name="T7" fmla="*/ 4 h 9"/>
                <a:gd name="T8" fmla="*/ 11 w 13"/>
                <a:gd name="T9" fmla="*/ 2 h 9"/>
                <a:gd name="T10" fmla="*/ 10 w 13"/>
                <a:gd name="T11" fmla="*/ 2 h 9"/>
                <a:gd name="T12" fmla="*/ 0 w 13"/>
                <a:gd name="T13" fmla="*/ 9 h 9"/>
                <a:gd name="T14" fmla="*/ 1 w 13"/>
                <a:gd name="T15" fmla="*/ 7 h 9"/>
                <a:gd name="T16" fmla="*/ 8 w 13"/>
                <a:gd name="T1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8" y="1"/>
                  </a:moveTo>
                  <a:cubicBezTo>
                    <a:pt x="9" y="0"/>
                    <a:pt x="13" y="0"/>
                    <a:pt x="13" y="0"/>
                  </a:cubicBezTo>
                  <a:cubicBezTo>
                    <a:pt x="13" y="1"/>
                    <a:pt x="13" y="1"/>
                    <a:pt x="13" y="2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9" y="2"/>
                    <a:pt x="6" y="5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ubicBezTo>
                    <a:pt x="3" y="4"/>
                    <a:pt x="5" y="2"/>
                    <a:pt x="8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6" name="Freeform 287">
              <a:extLst>
                <a:ext uri="{FF2B5EF4-FFF2-40B4-BE49-F238E27FC236}">
                  <a16:creationId xmlns:a16="http://schemas.microsoft.com/office/drawing/2014/main" id="{32B8C1ED-764F-4E78-BB85-D6E348AB1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225" y="635001"/>
              <a:ext cx="144463" cy="38100"/>
            </a:xfrm>
            <a:custGeom>
              <a:avLst/>
              <a:gdLst>
                <a:gd name="T0" fmla="*/ 19 w 55"/>
                <a:gd name="T1" fmla="*/ 9 h 14"/>
                <a:gd name="T2" fmla="*/ 55 w 55"/>
                <a:gd name="T3" fmla="*/ 3 h 14"/>
                <a:gd name="T4" fmla="*/ 54 w 55"/>
                <a:gd name="T5" fmla="*/ 3 h 14"/>
                <a:gd name="T6" fmla="*/ 15 w 55"/>
                <a:gd name="T7" fmla="*/ 11 h 14"/>
                <a:gd name="T8" fmla="*/ 16 w 55"/>
                <a:gd name="T9" fmla="*/ 10 h 14"/>
                <a:gd name="T10" fmla="*/ 19 w 55"/>
                <a:gd name="T11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14">
                  <a:moveTo>
                    <a:pt x="19" y="9"/>
                  </a:moveTo>
                  <a:cubicBezTo>
                    <a:pt x="40" y="0"/>
                    <a:pt x="55" y="3"/>
                    <a:pt x="55" y="3"/>
                  </a:cubicBezTo>
                  <a:cubicBezTo>
                    <a:pt x="55" y="3"/>
                    <a:pt x="55" y="3"/>
                    <a:pt x="54" y="3"/>
                  </a:cubicBezTo>
                  <a:cubicBezTo>
                    <a:pt x="0" y="14"/>
                    <a:pt x="34" y="7"/>
                    <a:pt x="15" y="11"/>
                  </a:cubicBezTo>
                  <a:cubicBezTo>
                    <a:pt x="15" y="11"/>
                    <a:pt x="16" y="11"/>
                    <a:pt x="16" y="10"/>
                  </a:cubicBezTo>
                  <a:cubicBezTo>
                    <a:pt x="17" y="10"/>
                    <a:pt x="18" y="9"/>
                    <a:pt x="19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7" name="Freeform 288">
              <a:extLst>
                <a:ext uri="{FF2B5EF4-FFF2-40B4-BE49-F238E27FC236}">
                  <a16:creationId xmlns:a16="http://schemas.microsoft.com/office/drawing/2014/main" id="{FE739938-BE15-4C4C-BF02-9F545B029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375" y="919163"/>
              <a:ext cx="90488" cy="92075"/>
            </a:xfrm>
            <a:custGeom>
              <a:avLst/>
              <a:gdLst>
                <a:gd name="T0" fmla="*/ 34 w 34"/>
                <a:gd name="T1" fmla="*/ 0 h 35"/>
                <a:gd name="T2" fmla="*/ 20 w 34"/>
                <a:gd name="T3" fmla="*/ 20 h 35"/>
                <a:gd name="T4" fmla="*/ 0 w 34"/>
                <a:gd name="T5" fmla="*/ 35 h 35"/>
                <a:gd name="T6" fmla="*/ 1 w 34"/>
                <a:gd name="T7" fmla="*/ 34 h 35"/>
                <a:gd name="T8" fmla="*/ 4 w 34"/>
                <a:gd name="T9" fmla="*/ 32 h 35"/>
                <a:gd name="T10" fmla="*/ 34 w 34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35">
                  <a:moveTo>
                    <a:pt x="34" y="0"/>
                  </a:moveTo>
                  <a:cubicBezTo>
                    <a:pt x="34" y="0"/>
                    <a:pt x="31" y="9"/>
                    <a:pt x="20" y="20"/>
                  </a:cubicBezTo>
                  <a:cubicBezTo>
                    <a:pt x="9" y="31"/>
                    <a:pt x="0" y="35"/>
                    <a:pt x="0" y="35"/>
                  </a:cubicBezTo>
                  <a:cubicBezTo>
                    <a:pt x="0" y="35"/>
                    <a:pt x="0" y="35"/>
                    <a:pt x="1" y="34"/>
                  </a:cubicBezTo>
                  <a:cubicBezTo>
                    <a:pt x="2" y="34"/>
                    <a:pt x="3" y="33"/>
                    <a:pt x="4" y="32"/>
                  </a:cubicBezTo>
                  <a:cubicBezTo>
                    <a:pt x="14" y="24"/>
                    <a:pt x="22" y="16"/>
                    <a:pt x="3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8" name="Freeform 289">
              <a:extLst>
                <a:ext uri="{FF2B5EF4-FFF2-40B4-BE49-F238E27FC236}">
                  <a16:creationId xmlns:a16="http://schemas.microsoft.com/office/drawing/2014/main" id="{FEA9CC8C-3D59-4D2D-97C2-A8327E1C8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892176"/>
              <a:ext cx="39688" cy="7938"/>
            </a:xfrm>
            <a:custGeom>
              <a:avLst/>
              <a:gdLst>
                <a:gd name="T0" fmla="*/ 8 w 15"/>
                <a:gd name="T1" fmla="*/ 0 h 3"/>
                <a:gd name="T2" fmla="*/ 14 w 15"/>
                <a:gd name="T3" fmla="*/ 1 h 3"/>
                <a:gd name="T4" fmla="*/ 15 w 15"/>
                <a:gd name="T5" fmla="*/ 2 h 3"/>
                <a:gd name="T6" fmla="*/ 13 w 15"/>
                <a:gd name="T7" fmla="*/ 2 h 3"/>
                <a:gd name="T8" fmla="*/ 8 w 15"/>
                <a:gd name="T9" fmla="*/ 3 h 3"/>
                <a:gd name="T10" fmla="*/ 2 w 15"/>
                <a:gd name="T11" fmla="*/ 3 h 3"/>
                <a:gd name="T12" fmla="*/ 0 w 15"/>
                <a:gd name="T13" fmla="*/ 3 h 3"/>
                <a:gd name="T14" fmla="*/ 1 w 15"/>
                <a:gd name="T15" fmla="*/ 2 h 3"/>
                <a:gd name="T16" fmla="*/ 8 w 15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3">
                  <a:moveTo>
                    <a:pt x="8" y="0"/>
                  </a:moveTo>
                  <a:cubicBezTo>
                    <a:pt x="11" y="0"/>
                    <a:pt x="13" y="1"/>
                    <a:pt x="14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2" y="2"/>
                    <a:pt x="10" y="2"/>
                    <a:pt x="8" y="3"/>
                  </a:cubicBezTo>
                  <a:cubicBezTo>
                    <a:pt x="5" y="3"/>
                    <a:pt x="3" y="3"/>
                    <a:pt x="2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2" y="2"/>
                    <a:pt x="4" y="1"/>
                    <a:pt x="8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9" name="Freeform 290">
              <a:extLst>
                <a:ext uri="{FF2B5EF4-FFF2-40B4-BE49-F238E27FC236}">
                  <a16:creationId xmlns:a16="http://schemas.microsoft.com/office/drawing/2014/main" id="{01F3C8D4-92E4-4D04-AFA7-7C8C7CA29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1625" y="857251"/>
              <a:ext cx="182563" cy="190500"/>
            </a:xfrm>
            <a:custGeom>
              <a:avLst/>
              <a:gdLst>
                <a:gd name="T0" fmla="*/ 11 w 69"/>
                <a:gd name="T1" fmla="*/ 4 h 72"/>
                <a:gd name="T2" fmla="*/ 25 w 69"/>
                <a:gd name="T3" fmla="*/ 32 h 72"/>
                <a:gd name="T4" fmla="*/ 60 w 69"/>
                <a:gd name="T5" fmla="*/ 56 h 72"/>
                <a:gd name="T6" fmla="*/ 69 w 69"/>
                <a:gd name="T7" fmla="*/ 52 h 72"/>
                <a:gd name="T8" fmla="*/ 29 w 69"/>
                <a:gd name="T9" fmla="*/ 42 h 72"/>
                <a:gd name="T10" fmla="*/ 16 w 69"/>
                <a:gd name="T11" fmla="*/ 24 h 72"/>
                <a:gd name="T12" fmla="*/ 14 w 69"/>
                <a:gd name="T13" fmla="*/ 0 h 72"/>
                <a:gd name="T14" fmla="*/ 11 w 69"/>
                <a:gd name="T15" fmla="*/ 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72">
                  <a:moveTo>
                    <a:pt x="11" y="4"/>
                  </a:moveTo>
                  <a:cubicBezTo>
                    <a:pt x="6" y="12"/>
                    <a:pt x="20" y="23"/>
                    <a:pt x="25" y="32"/>
                  </a:cubicBezTo>
                  <a:cubicBezTo>
                    <a:pt x="33" y="46"/>
                    <a:pt x="49" y="60"/>
                    <a:pt x="60" y="56"/>
                  </a:cubicBezTo>
                  <a:cubicBezTo>
                    <a:pt x="63" y="56"/>
                    <a:pt x="66" y="54"/>
                    <a:pt x="69" y="52"/>
                  </a:cubicBezTo>
                  <a:cubicBezTo>
                    <a:pt x="69" y="57"/>
                    <a:pt x="54" y="72"/>
                    <a:pt x="29" y="42"/>
                  </a:cubicBezTo>
                  <a:cubicBezTo>
                    <a:pt x="24" y="36"/>
                    <a:pt x="20" y="30"/>
                    <a:pt x="16" y="24"/>
                  </a:cubicBezTo>
                  <a:cubicBezTo>
                    <a:pt x="9" y="15"/>
                    <a:pt x="0" y="6"/>
                    <a:pt x="14" y="0"/>
                  </a:cubicBezTo>
                  <a:cubicBezTo>
                    <a:pt x="12" y="1"/>
                    <a:pt x="12" y="3"/>
                    <a:pt x="11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0" name="Freeform 291">
              <a:extLst>
                <a:ext uri="{FF2B5EF4-FFF2-40B4-BE49-F238E27FC236}">
                  <a16:creationId xmlns:a16="http://schemas.microsoft.com/office/drawing/2014/main" id="{262F9BB2-2931-41B6-9014-14B9AB9B8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763" y="879476"/>
              <a:ext cx="190500" cy="184150"/>
            </a:xfrm>
            <a:custGeom>
              <a:avLst/>
              <a:gdLst>
                <a:gd name="T0" fmla="*/ 58 w 72"/>
                <a:gd name="T1" fmla="*/ 64 h 70"/>
                <a:gd name="T2" fmla="*/ 65 w 72"/>
                <a:gd name="T3" fmla="*/ 64 h 70"/>
                <a:gd name="T4" fmla="*/ 71 w 72"/>
                <a:gd name="T5" fmla="*/ 59 h 70"/>
                <a:gd name="T6" fmla="*/ 54 w 72"/>
                <a:gd name="T7" fmla="*/ 65 h 70"/>
                <a:gd name="T8" fmla="*/ 38 w 72"/>
                <a:gd name="T9" fmla="*/ 56 h 70"/>
                <a:gd name="T10" fmla="*/ 17 w 72"/>
                <a:gd name="T11" fmla="*/ 46 h 70"/>
                <a:gd name="T12" fmla="*/ 6 w 72"/>
                <a:gd name="T13" fmla="*/ 24 h 70"/>
                <a:gd name="T14" fmla="*/ 2 w 72"/>
                <a:gd name="T15" fmla="*/ 11 h 70"/>
                <a:gd name="T16" fmla="*/ 5 w 72"/>
                <a:gd name="T17" fmla="*/ 0 h 70"/>
                <a:gd name="T18" fmla="*/ 12 w 72"/>
                <a:gd name="T19" fmla="*/ 32 h 70"/>
                <a:gd name="T20" fmla="*/ 24 w 72"/>
                <a:gd name="T21" fmla="*/ 46 h 70"/>
                <a:gd name="T22" fmla="*/ 58 w 72"/>
                <a:gd name="T2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70">
                  <a:moveTo>
                    <a:pt x="58" y="64"/>
                  </a:moveTo>
                  <a:cubicBezTo>
                    <a:pt x="61" y="64"/>
                    <a:pt x="63" y="64"/>
                    <a:pt x="65" y="64"/>
                  </a:cubicBezTo>
                  <a:cubicBezTo>
                    <a:pt x="68" y="63"/>
                    <a:pt x="71" y="61"/>
                    <a:pt x="71" y="59"/>
                  </a:cubicBezTo>
                  <a:cubicBezTo>
                    <a:pt x="72" y="65"/>
                    <a:pt x="66" y="70"/>
                    <a:pt x="54" y="65"/>
                  </a:cubicBezTo>
                  <a:cubicBezTo>
                    <a:pt x="49" y="63"/>
                    <a:pt x="43" y="59"/>
                    <a:pt x="38" y="56"/>
                  </a:cubicBezTo>
                  <a:cubicBezTo>
                    <a:pt x="31" y="52"/>
                    <a:pt x="24" y="50"/>
                    <a:pt x="17" y="46"/>
                  </a:cubicBezTo>
                  <a:cubicBezTo>
                    <a:pt x="8" y="40"/>
                    <a:pt x="9" y="33"/>
                    <a:pt x="6" y="24"/>
                  </a:cubicBezTo>
                  <a:cubicBezTo>
                    <a:pt x="4" y="20"/>
                    <a:pt x="2" y="15"/>
                    <a:pt x="2" y="11"/>
                  </a:cubicBezTo>
                  <a:cubicBezTo>
                    <a:pt x="1" y="5"/>
                    <a:pt x="3" y="1"/>
                    <a:pt x="5" y="0"/>
                  </a:cubicBezTo>
                  <a:cubicBezTo>
                    <a:pt x="0" y="9"/>
                    <a:pt x="10" y="21"/>
                    <a:pt x="12" y="32"/>
                  </a:cubicBezTo>
                  <a:cubicBezTo>
                    <a:pt x="13" y="38"/>
                    <a:pt x="17" y="44"/>
                    <a:pt x="24" y="46"/>
                  </a:cubicBezTo>
                  <a:cubicBezTo>
                    <a:pt x="35" y="51"/>
                    <a:pt x="47" y="61"/>
                    <a:pt x="58" y="6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1" name="Freeform 292">
              <a:extLst>
                <a:ext uri="{FF2B5EF4-FFF2-40B4-BE49-F238E27FC236}">
                  <a16:creationId xmlns:a16="http://schemas.microsoft.com/office/drawing/2014/main" id="{5F39513F-17E7-4B08-9DB9-BD5D0D8F3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75" y="852488"/>
              <a:ext cx="68263" cy="66675"/>
            </a:xfrm>
            <a:custGeom>
              <a:avLst/>
              <a:gdLst>
                <a:gd name="T0" fmla="*/ 0 w 26"/>
                <a:gd name="T1" fmla="*/ 10 h 25"/>
                <a:gd name="T2" fmla="*/ 9 w 26"/>
                <a:gd name="T3" fmla="*/ 1 h 25"/>
                <a:gd name="T4" fmla="*/ 9 w 26"/>
                <a:gd name="T5" fmla="*/ 2 h 25"/>
                <a:gd name="T6" fmla="*/ 3 w 26"/>
                <a:gd name="T7" fmla="*/ 9 h 25"/>
                <a:gd name="T8" fmla="*/ 13 w 26"/>
                <a:gd name="T9" fmla="*/ 21 h 25"/>
                <a:gd name="T10" fmla="*/ 22 w 26"/>
                <a:gd name="T11" fmla="*/ 13 h 25"/>
                <a:gd name="T12" fmla="*/ 13 w 26"/>
                <a:gd name="T13" fmla="*/ 1 h 25"/>
                <a:gd name="T14" fmla="*/ 25 w 26"/>
                <a:gd name="T15" fmla="*/ 12 h 25"/>
                <a:gd name="T16" fmla="*/ 15 w 26"/>
                <a:gd name="T17" fmla="*/ 24 h 25"/>
                <a:gd name="T18" fmla="*/ 0 w 26"/>
                <a:gd name="T19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5">
                  <a:moveTo>
                    <a:pt x="0" y="10"/>
                  </a:moveTo>
                  <a:cubicBezTo>
                    <a:pt x="0" y="5"/>
                    <a:pt x="4" y="1"/>
                    <a:pt x="9" y="1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6" y="2"/>
                    <a:pt x="3" y="6"/>
                    <a:pt x="3" y="9"/>
                  </a:cubicBezTo>
                  <a:cubicBezTo>
                    <a:pt x="2" y="14"/>
                    <a:pt x="8" y="21"/>
                    <a:pt x="13" y="21"/>
                  </a:cubicBezTo>
                  <a:cubicBezTo>
                    <a:pt x="18" y="22"/>
                    <a:pt x="23" y="18"/>
                    <a:pt x="22" y="13"/>
                  </a:cubicBezTo>
                  <a:cubicBezTo>
                    <a:pt x="22" y="8"/>
                    <a:pt x="16" y="1"/>
                    <a:pt x="13" y="1"/>
                  </a:cubicBezTo>
                  <a:cubicBezTo>
                    <a:pt x="18" y="0"/>
                    <a:pt x="24" y="7"/>
                    <a:pt x="25" y="12"/>
                  </a:cubicBezTo>
                  <a:cubicBezTo>
                    <a:pt x="26" y="20"/>
                    <a:pt x="21" y="25"/>
                    <a:pt x="15" y="24"/>
                  </a:cubicBezTo>
                  <a:cubicBezTo>
                    <a:pt x="8" y="23"/>
                    <a:pt x="1" y="17"/>
                    <a:pt x="0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2" name="Freeform 293">
              <a:extLst>
                <a:ext uri="{FF2B5EF4-FFF2-40B4-BE49-F238E27FC236}">
                  <a16:creationId xmlns:a16="http://schemas.microsoft.com/office/drawing/2014/main" id="{BC2AF49D-9FE7-4C3A-B62D-06559E8E0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4400" y="931863"/>
              <a:ext cx="593725" cy="723900"/>
            </a:xfrm>
            <a:custGeom>
              <a:avLst/>
              <a:gdLst>
                <a:gd name="T0" fmla="*/ 0 w 225"/>
                <a:gd name="T1" fmla="*/ 274 h 274"/>
                <a:gd name="T2" fmla="*/ 5 w 225"/>
                <a:gd name="T3" fmla="*/ 268 h 274"/>
                <a:gd name="T4" fmla="*/ 159 w 225"/>
                <a:gd name="T5" fmla="*/ 52 h 274"/>
                <a:gd name="T6" fmla="*/ 225 w 225"/>
                <a:gd name="T7" fmla="*/ 0 h 274"/>
                <a:gd name="T8" fmla="*/ 22 w 225"/>
                <a:gd name="T9" fmla="*/ 246 h 274"/>
                <a:gd name="T10" fmla="*/ 0 w 225"/>
                <a:gd name="T1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5" h="274">
                  <a:moveTo>
                    <a:pt x="0" y="274"/>
                  </a:moveTo>
                  <a:cubicBezTo>
                    <a:pt x="0" y="274"/>
                    <a:pt x="1" y="273"/>
                    <a:pt x="5" y="268"/>
                  </a:cubicBezTo>
                  <a:cubicBezTo>
                    <a:pt x="41" y="221"/>
                    <a:pt x="50" y="153"/>
                    <a:pt x="159" y="52"/>
                  </a:cubicBezTo>
                  <a:cubicBezTo>
                    <a:pt x="180" y="33"/>
                    <a:pt x="210" y="5"/>
                    <a:pt x="225" y="0"/>
                  </a:cubicBezTo>
                  <a:cubicBezTo>
                    <a:pt x="73" y="116"/>
                    <a:pt x="39" y="220"/>
                    <a:pt x="22" y="246"/>
                  </a:cubicBezTo>
                  <a:cubicBezTo>
                    <a:pt x="10" y="264"/>
                    <a:pt x="0" y="274"/>
                    <a:pt x="0" y="27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3" name="Freeform 294">
              <a:extLst>
                <a:ext uri="{FF2B5EF4-FFF2-40B4-BE49-F238E27FC236}">
                  <a16:creationId xmlns:a16="http://schemas.microsoft.com/office/drawing/2014/main" id="{91A0C11B-CC6D-44F8-9402-AAACE09CA2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2775" y="796926"/>
              <a:ext cx="1228725" cy="1192213"/>
            </a:xfrm>
            <a:custGeom>
              <a:avLst/>
              <a:gdLst>
                <a:gd name="T0" fmla="*/ 122 w 465"/>
                <a:gd name="T1" fmla="*/ 429 h 451"/>
                <a:gd name="T2" fmla="*/ 196 w 465"/>
                <a:gd name="T3" fmla="*/ 340 h 451"/>
                <a:gd name="T4" fmla="*/ 456 w 465"/>
                <a:gd name="T5" fmla="*/ 57 h 451"/>
                <a:gd name="T6" fmla="*/ 445 w 465"/>
                <a:gd name="T7" fmla="*/ 8 h 451"/>
                <a:gd name="T8" fmla="*/ 240 w 465"/>
                <a:gd name="T9" fmla="*/ 47 h 451"/>
                <a:gd name="T10" fmla="*/ 202 w 465"/>
                <a:gd name="T11" fmla="*/ 55 h 451"/>
                <a:gd name="T12" fmla="*/ 191 w 465"/>
                <a:gd name="T13" fmla="*/ 76 h 451"/>
                <a:gd name="T14" fmla="*/ 184 w 465"/>
                <a:gd name="T15" fmla="*/ 90 h 451"/>
                <a:gd name="T16" fmla="*/ 184 w 465"/>
                <a:gd name="T17" fmla="*/ 105 h 451"/>
                <a:gd name="T18" fmla="*/ 193 w 465"/>
                <a:gd name="T19" fmla="*/ 139 h 451"/>
                <a:gd name="T20" fmla="*/ 115 w 465"/>
                <a:gd name="T21" fmla="*/ 230 h 451"/>
                <a:gd name="T22" fmla="*/ 121 w 465"/>
                <a:gd name="T23" fmla="*/ 262 h 451"/>
                <a:gd name="T24" fmla="*/ 126 w 465"/>
                <a:gd name="T25" fmla="*/ 264 h 451"/>
                <a:gd name="T26" fmla="*/ 91 w 465"/>
                <a:gd name="T27" fmla="*/ 306 h 451"/>
                <a:gd name="T28" fmla="*/ 6 w 465"/>
                <a:gd name="T29" fmla="*/ 326 h 451"/>
                <a:gd name="T30" fmla="*/ 99 w 465"/>
                <a:gd name="T31" fmla="*/ 432 h 451"/>
                <a:gd name="T32" fmla="*/ 128 w 465"/>
                <a:gd name="T33" fmla="*/ 261 h 451"/>
                <a:gd name="T34" fmla="*/ 122 w 465"/>
                <a:gd name="T35" fmla="*/ 258 h 451"/>
                <a:gd name="T36" fmla="*/ 119 w 465"/>
                <a:gd name="T37" fmla="*/ 242 h 451"/>
                <a:gd name="T38" fmla="*/ 158 w 465"/>
                <a:gd name="T39" fmla="*/ 187 h 451"/>
                <a:gd name="T40" fmla="*/ 205 w 465"/>
                <a:gd name="T41" fmla="*/ 124 h 451"/>
                <a:gd name="T42" fmla="*/ 205 w 465"/>
                <a:gd name="T43" fmla="*/ 124 h 451"/>
                <a:gd name="T44" fmla="*/ 207 w 465"/>
                <a:gd name="T45" fmla="*/ 121 h 451"/>
                <a:gd name="T46" fmla="*/ 200 w 465"/>
                <a:gd name="T47" fmla="*/ 91 h 451"/>
                <a:gd name="T48" fmla="*/ 220 w 465"/>
                <a:gd name="T49" fmla="*/ 106 h 451"/>
                <a:gd name="T50" fmla="*/ 200 w 465"/>
                <a:gd name="T51" fmla="*/ 91 h 451"/>
                <a:gd name="T52" fmla="*/ 196 w 465"/>
                <a:gd name="T53" fmla="*/ 88 h 451"/>
                <a:gd name="T54" fmla="*/ 273 w 465"/>
                <a:gd name="T55" fmla="*/ 61 h 451"/>
                <a:gd name="T56" fmla="*/ 208 w 465"/>
                <a:gd name="T57" fmla="*/ 56 h 451"/>
                <a:gd name="T58" fmla="*/ 277 w 465"/>
                <a:gd name="T59" fmla="*/ 58 h 451"/>
                <a:gd name="T60" fmla="*/ 250 w 465"/>
                <a:gd name="T61" fmla="*/ 48 h 451"/>
                <a:gd name="T62" fmla="*/ 439 w 465"/>
                <a:gd name="T63" fmla="*/ 60 h 451"/>
                <a:gd name="T64" fmla="*/ 446 w 465"/>
                <a:gd name="T65" fmla="*/ 12 h 451"/>
                <a:gd name="T66" fmla="*/ 444 w 465"/>
                <a:gd name="T67" fmla="*/ 35 h 451"/>
                <a:gd name="T68" fmla="*/ 341 w 465"/>
                <a:gd name="T69" fmla="*/ 220 h 451"/>
                <a:gd name="T70" fmla="*/ 205 w 465"/>
                <a:gd name="T71" fmla="*/ 318 h 451"/>
                <a:gd name="T72" fmla="*/ 212 w 465"/>
                <a:gd name="T73" fmla="*/ 322 h 451"/>
                <a:gd name="T74" fmla="*/ 209 w 465"/>
                <a:gd name="T75" fmla="*/ 331 h 451"/>
                <a:gd name="T76" fmla="*/ 221 w 465"/>
                <a:gd name="T77" fmla="*/ 326 h 451"/>
                <a:gd name="T78" fmla="*/ 226 w 465"/>
                <a:gd name="T79" fmla="*/ 329 h 451"/>
                <a:gd name="T80" fmla="*/ 129 w 465"/>
                <a:gd name="T81" fmla="*/ 348 h 451"/>
                <a:gd name="T82" fmla="*/ 114 w 465"/>
                <a:gd name="T83" fmla="*/ 301 h 451"/>
                <a:gd name="T84" fmla="*/ 427 w 465"/>
                <a:gd name="T85" fmla="*/ 8 h 451"/>
                <a:gd name="T86" fmla="*/ 433 w 465"/>
                <a:gd name="T87" fmla="*/ 57 h 451"/>
                <a:gd name="T88" fmla="*/ 455 w 465"/>
                <a:gd name="T89" fmla="*/ 32 h 451"/>
                <a:gd name="T90" fmla="*/ 386 w 465"/>
                <a:gd name="T91" fmla="*/ 179 h 451"/>
                <a:gd name="T92" fmla="*/ 394 w 465"/>
                <a:gd name="T93" fmla="*/ 160 h 451"/>
                <a:gd name="T94" fmla="*/ 338 w 465"/>
                <a:gd name="T95" fmla="*/ 221 h 451"/>
                <a:gd name="T96" fmla="*/ 129 w 465"/>
                <a:gd name="T97" fmla="*/ 348 h 451"/>
                <a:gd name="T98" fmla="*/ 131 w 465"/>
                <a:gd name="T99" fmla="*/ 358 h 451"/>
                <a:gd name="T100" fmla="*/ 101 w 465"/>
                <a:gd name="T101" fmla="*/ 428 h 451"/>
                <a:gd name="T102" fmla="*/ 96 w 465"/>
                <a:gd name="T103" fmla="*/ 414 h 451"/>
                <a:gd name="T104" fmla="*/ 89 w 465"/>
                <a:gd name="T105" fmla="*/ 393 h 451"/>
                <a:gd name="T106" fmla="*/ 81 w 465"/>
                <a:gd name="T107" fmla="*/ 376 h 451"/>
                <a:gd name="T108" fmla="*/ 72 w 465"/>
                <a:gd name="T109" fmla="*/ 334 h 451"/>
                <a:gd name="T110" fmla="*/ 98 w 465"/>
                <a:gd name="T111" fmla="*/ 322 h 451"/>
                <a:gd name="T112" fmla="*/ 5 w 465"/>
                <a:gd name="T113" fmla="*/ 333 h 451"/>
                <a:gd name="T114" fmla="*/ 102 w 465"/>
                <a:gd name="T115" fmla="*/ 318 h 451"/>
                <a:gd name="T116" fmla="*/ 144 w 465"/>
                <a:gd name="T117" fmla="*/ 34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5" h="451">
                  <a:moveTo>
                    <a:pt x="105" y="441"/>
                  </a:moveTo>
                  <a:cubicBezTo>
                    <a:pt x="106" y="443"/>
                    <a:pt x="111" y="448"/>
                    <a:pt x="113" y="448"/>
                  </a:cubicBezTo>
                  <a:cubicBezTo>
                    <a:pt x="113" y="448"/>
                    <a:pt x="112" y="451"/>
                    <a:pt x="122" y="429"/>
                  </a:cubicBezTo>
                  <a:cubicBezTo>
                    <a:pt x="141" y="386"/>
                    <a:pt x="137" y="355"/>
                    <a:pt x="158" y="337"/>
                  </a:cubicBezTo>
                  <a:cubicBezTo>
                    <a:pt x="171" y="326"/>
                    <a:pt x="189" y="319"/>
                    <a:pt x="206" y="315"/>
                  </a:cubicBezTo>
                  <a:cubicBezTo>
                    <a:pt x="196" y="317"/>
                    <a:pt x="197" y="340"/>
                    <a:pt x="196" y="340"/>
                  </a:cubicBezTo>
                  <a:cubicBezTo>
                    <a:pt x="205" y="344"/>
                    <a:pt x="213" y="340"/>
                    <a:pt x="219" y="337"/>
                  </a:cubicBezTo>
                  <a:cubicBezTo>
                    <a:pt x="223" y="336"/>
                    <a:pt x="262" y="313"/>
                    <a:pt x="276" y="282"/>
                  </a:cubicBezTo>
                  <a:cubicBezTo>
                    <a:pt x="377" y="225"/>
                    <a:pt x="424" y="146"/>
                    <a:pt x="456" y="57"/>
                  </a:cubicBezTo>
                  <a:cubicBezTo>
                    <a:pt x="459" y="50"/>
                    <a:pt x="465" y="41"/>
                    <a:pt x="464" y="32"/>
                  </a:cubicBezTo>
                  <a:cubicBezTo>
                    <a:pt x="463" y="25"/>
                    <a:pt x="455" y="20"/>
                    <a:pt x="447" y="26"/>
                  </a:cubicBezTo>
                  <a:cubicBezTo>
                    <a:pt x="449" y="20"/>
                    <a:pt x="452" y="14"/>
                    <a:pt x="445" y="8"/>
                  </a:cubicBezTo>
                  <a:cubicBezTo>
                    <a:pt x="435" y="0"/>
                    <a:pt x="419" y="7"/>
                    <a:pt x="410" y="9"/>
                  </a:cubicBezTo>
                  <a:cubicBezTo>
                    <a:pt x="373" y="20"/>
                    <a:pt x="345" y="17"/>
                    <a:pt x="289" y="50"/>
                  </a:cubicBezTo>
                  <a:cubicBezTo>
                    <a:pt x="281" y="48"/>
                    <a:pt x="257" y="41"/>
                    <a:pt x="240" y="47"/>
                  </a:cubicBezTo>
                  <a:cubicBezTo>
                    <a:pt x="241" y="47"/>
                    <a:pt x="246" y="48"/>
                    <a:pt x="246" y="50"/>
                  </a:cubicBezTo>
                  <a:cubicBezTo>
                    <a:pt x="246" y="52"/>
                    <a:pt x="238" y="51"/>
                    <a:pt x="236" y="52"/>
                  </a:cubicBezTo>
                  <a:cubicBezTo>
                    <a:pt x="225" y="52"/>
                    <a:pt x="213" y="53"/>
                    <a:pt x="202" y="55"/>
                  </a:cubicBezTo>
                  <a:cubicBezTo>
                    <a:pt x="201" y="56"/>
                    <a:pt x="222" y="62"/>
                    <a:pt x="191" y="71"/>
                  </a:cubicBezTo>
                  <a:cubicBezTo>
                    <a:pt x="186" y="73"/>
                    <a:pt x="187" y="72"/>
                    <a:pt x="185" y="73"/>
                  </a:cubicBezTo>
                  <a:cubicBezTo>
                    <a:pt x="187" y="73"/>
                    <a:pt x="189" y="75"/>
                    <a:pt x="191" y="76"/>
                  </a:cubicBezTo>
                  <a:cubicBezTo>
                    <a:pt x="192" y="78"/>
                    <a:pt x="195" y="81"/>
                    <a:pt x="194" y="84"/>
                  </a:cubicBezTo>
                  <a:cubicBezTo>
                    <a:pt x="194" y="86"/>
                    <a:pt x="190" y="87"/>
                    <a:pt x="189" y="88"/>
                  </a:cubicBezTo>
                  <a:cubicBezTo>
                    <a:pt x="187" y="89"/>
                    <a:pt x="185" y="89"/>
                    <a:pt x="184" y="90"/>
                  </a:cubicBezTo>
                  <a:cubicBezTo>
                    <a:pt x="184" y="90"/>
                    <a:pt x="184" y="90"/>
                    <a:pt x="184" y="90"/>
                  </a:cubicBezTo>
                  <a:cubicBezTo>
                    <a:pt x="186" y="90"/>
                    <a:pt x="200" y="97"/>
                    <a:pt x="186" y="104"/>
                  </a:cubicBezTo>
                  <a:cubicBezTo>
                    <a:pt x="185" y="104"/>
                    <a:pt x="185" y="104"/>
                    <a:pt x="184" y="105"/>
                  </a:cubicBezTo>
                  <a:cubicBezTo>
                    <a:pt x="184" y="105"/>
                    <a:pt x="184" y="105"/>
                    <a:pt x="184" y="105"/>
                  </a:cubicBezTo>
                  <a:cubicBezTo>
                    <a:pt x="189" y="105"/>
                    <a:pt x="203" y="115"/>
                    <a:pt x="186" y="122"/>
                  </a:cubicBezTo>
                  <a:cubicBezTo>
                    <a:pt x="186" y="122"/>
                    <a:pt x="197" y="129"/>
                    <a:pt x="193" y="139"/>
                  </a:cubicBezTo>
                  <a:cubicBezTo>
                    <a:pt x="193" y="140"/>
                    <a:pt x="187" y="147"/>
                    <a:pt x="178" y="161"/>
                  </a:cubicBezTo>
                  <a:cubicBezTo>
                    <a:pt x="173" y="163"/>
                    <a:pt x="129" y="183"/>
                    <a:pt x="113" y="230"/>
                  </a:cubicBezTo>
                  <a:cubicBezTo>
                    <a:pt x="113" y="231"/>
                    <a:pt x="114" y="230"/>
                    <a:pt x="115" y="230"/>
                  </a:cubicBezTo>
                  <a:cubicBezTo>
                    <a:pt x="118" y="229"/>
                    <a:pt x="120" y="230"/>
                    <a:pt x="120" y="230"/>
                  </a:cubicBezTo>
                  <a:cubicBezTo>
                    <a:pt x="116" y="242"/>
                    <a:pt x="114" y="250"/>
                    <a:pt x="115" y="250"/>
                  </a:cubicBezTo>
                  <a:cubicBezTo>
                    <a:pt x="120" y="248"/>
                    <a:pt x="120" y="247"/>
                    <a:pt x="121" y="262"/>
                  </a:cubicBezTo>
                  <a:cubicBezTo>
                    <a:pt x="121" y="263"/>
                    <a:pt x="122" y="264"/>
                    <a:pt x="122" y="264"/>
                  </a:cubicBezTo>
                  <a:cubicBezTo>
                    <a:pt x="123" y="263"/>
                    <a:pt x="125" y="262"/>
                    <a:pt x="126" y="261"/>
                  </a:cubicBezTo>
                  <a:cubicBezTo>
                    <a:pt x="126" y="262"/>
                    <a:pt x="126" y="263"/>
                    <a:pt x="126" y="264"/>
                  </a:cubicBezTo>
                  <a:cubicBezTo>
                    <a:pt x="126" y="264"/>
                    <a:pt x="127" y="266"/>
                    <a:pt x="128" y="265"/>
                  </a:cubicBezTo>
                  <a:cubicBezTo>
                    <a:pt x="128" y="265"/>
                    <a:pt x="129" y="265"/>
                    <a:pt x="129" y="264"/>
                  </a:cubicBezTo>
                  <a:cubicBezTo>
                    <a:pt x="120" y="292"/>
                    <a:pt x="121" y="298"/>
                    <a:pt x="91" y="306"/>
                  </a:cubicBezTo>
                  <a:cubicBezTo>
                    <a:pt x="73" y="310"/>
                    <a:pt x="53" y="308"/>
                    <a:pt x="35" y="312"/>
                  </a:cubicBezTo>
                  <a:cubicBezTo>
                    <a:pt x="27" y="314"/>
                    <a:pt x="20" y="316"/>
                    <a:pt x="14" y="319"/>
                  </a:cubicBezTo>
                  <a:cubicBezTo>
                    <a:pt x="11" y="321"/>
                    <a:pt x="9" y="323"/>
                    <a:pt x="6" y="326"/>
                  </a:cubicBezTo>
                  <a:cubicBezTo>
                    <a:pt x="4" y="328"/>
                    <a:pt x="0" y="332"/>
                    <a:pt x="0" y="336"/>
                  </a:cubicBezTo>
                  <a:cubicBezTo>
                    <a:pt x="1" y="345"/>
                    <a:pt x="61" y="334"/>
                    <a:pt x="84" y="391"/>
                  </a:cubicBezTo>
                  <a:cubicBezTo>
                    <a:pt x="88" y="400"/>
                    <a:pt x="91" y="416"/>
                    <a:pt x="99" y="432"/>
                  </a:cubicBezTo>
                  <a:cubicBezTo>
                    <a:pt x="101" y="435"/>
                    <a:pt x="103" y="438"/>
                    <a:pt x="105" y="441"/>
                  </a:cubicBezTo>
                  <a:close/>
                  <a:moveTo>
                    <a:pt x="174" y="167"/>
                  </a:moveTo>
                  <a:cubicBezTo>
                    <a:pt x="143" y="218"/>
                    <a:pt x="134" y="256"/>
                    <a:pt x="128" y="261"/>
                  </a:cubicBezTo>
                  <a:cubicBezTo>
                    <a:pt x="129" y="257"/>
                    <a:pt x="127" y="258"/>
                    <a:pt x="124" y="259"/>
                  </a:cubicBezTo>
                  <a:cubicBezTo>
                    <a:pt x="129" y="251"/>
                    <a:pt x="133" y="247"/>
                    <a:pt x="133" y="244"/>
                  </a:cubicBezTo>
                  <a:cubicBezTo>
                    <a:pt x="130" y="245"/>
                    <a:pt x="124" y="254"/>
                    <a:pt x="122" y="258"/>
                  </a:cubicBezTo>
                  <a:cubicBezTo>
                    <a:pt x="122" y="245"/>
                    <a:pt x="122" y="244"/>
                    <a:pt x="119" y="246"/>
                  </a:cubicBezTo>
                  <a:cubicBezTo>
                    <a:pt x="128" y="236"/>
                    <a:pt x="135" y="232"/>
                    <a:pt x="138" y="228"/>
                  </a:cubicBezTo>
                  <a:cubicBezTo>
                    <a:pt x="132" y="230"/>
                    <a:pt x="122" y="239"/>
                    <a:pt x="119" y="242"/>
                  </a:cubicBezTo>
                  <a:cubicBezTo>
                    <a:pt x="125" y="222"/>
                    <a:pt x="130" y="228"/>
                    <a:pt x="142" y="213"/>
                  </a:cubicBezTo>
                  <a:cubicBezTo>
                    <a:pt x="133" y="216"/>
                    <a:pt x="128" y="226"/>
                    <a:pt x="117" y="227"/>
                  </a:cubicBezTo>
                  <a:cubicBezTo>
                    <a:pt x="122" y="219"/>
                    <a:pt x="153" y="193"/>
                    <a:pt x="158" y="187"/>
                  </a:cubicBezTo>
                  <a:cubicBezTo>
                    <a:pt x="147" y="193"/>
                    <a:pt x="128" y="212"/>
                    <a:pt x="118" y="222"/>
                  </a:cubicBezTo>
                  <a:cubicBezTo>
                    <a:pt x="128" y="203"/>
                    <a:pt x="139" y="185"/>
                    <a:pt x="174" y="167"/>
                  </a:cubicBezTo>
                  <a:close/>
                  <a:moveTo>
                    <a:pt x="205" y="124"/>
                  </a:moveTo>
                  <a:cubicBezTo>
                    <a:pt x="202" y="127"/>
                    <a:pt x="199" y="131"/>
                    <a:pt x="197" y="134"/>
                  </a:cubicBezTo>
                  <a:cubicBezTo>
                    <a:pt x="196" y="130"/>
                    <a:pt x="192" y="123"/>
                    <a:pt x="191" y="123"/>
                  </a:cubicBezTo>
                  <a:cubicBezTo>
                    <a:pt x="195" y="122"/>
                    <a:pt x="200" y="123"/>
                    <a:pt x="205" y="124"/>
                  </a:cubicBezTo>
                  <a:close/>
                  <a:moveTo>
                    <a:pt x="191" y="106"/>
                  </a:moveTo>
                  <a:cubicBezTo>
                    <a:pt x="200" y="107"/>
                    <a:pt x="208" y="108"/>
                    <a:pt x="217" y="110"/>
                  </a:cubicBezTo>
                  <a:cubicBezTo>
                    <a:pt x="214" y="113"/>
                    <a:pt x="211" y="117"/>
                    <a:pt x="207" y="121"/>
                  </a:cubicBezTo>
                  <a:cubicBezTo>
                    <a:pt x="203" y="120"/>
                    <a:pt x="200" y="120"/>
                    <a:pt x="196" y="120"/>
                  </a:cubicBezTo>
                  <a:cubicBezTo>
                    <a:pt x="199" y="115"/>
                    <a:pt x="196" y="109"/>
                    <a:pt x="191" y="106"/>
                  </a:cubicBezTo>
                  <a:close/>
                  <a:moveTo>
                    <a:pt x="200" y="91"/>
                  </a:moveTo>
                  <a:cubicBezTo>
                    <a:pt x="203" y="91"/>
                    <a:pt x="206" y="91"/>
                    <a:pt x="209" y="91"/>
                  </a:cubicBezTo>
                  <a:cubicBezTo>
                    <a:pt x="216" y="92"/>
                    <a:pt x="223" y="94"/>
                    <a:pt x="230" y="96"/>
                  </a:cubicBezTo>
                  <a:cubicBezTo>
                    <a:pt x="227" y="99"/>
                    <a:pt x="223" y="103"/>
                    <a:pt x="220" y="106"/>
                  </a:cubicBezTo>
                  <a:cubicBezTo>
                    <a:pt x="216" y="106"/>
                    <a:pt x="207" y="103"/>
                    <a:pt x="193" y="104"/>
                  </a:cubicBezTo>
                  <a:cubicBezTo>
                    <a:pt x="199" y="99"/>
                    <a:pt x="192" y="91"/>
                    <a:pt x="191" y="91"/>
                  </a:cubicBezTo>
                  <a:cubicBezTo>
                    <a:pt x="194" y="91"/>
                    <a:pt x="197" y="90"/>
                    <a:pt x="200" y="91"/>
                  </a:cubicBezTo>
                  <a:close/>
                  <a:moveTo>
                    <a:pt x="252" y="76"/>
                  </a:moveTo>
                  <a:cubicBezTo>
                    <a:pt x="246" y="81"/>
                    <a:pt x="240" y="87"/>
                    <a:pt x="234" y="93"/>
                  </a:cubicBezTo>
                  <a:cubicBezTo>
                    <a:pt x="218" y="88"/>
                    <a:pt x="205" y="88"/>
                    <a:pt x="196" y="88"/>
                  </a:cubicBezTo>
                  <a:cubicBezTo>
                    <a:pt x="198" y="84"/>
                    <a:pt x="197" y="78"/>
                    <a:pt x="190" y="74"/>
                  </a:cubicBezTo>
                  <a:cubicBezTo>
                    <a:pt x="196" y="73"/>
                    <a:pt x="213" y="67"/>
                    <a:pt x="252" y="76"/>
                  </a:cubicBezTo>
                  <a:close/>
                  <a:moveTo>
                    <a:pt x="273" y="61"/>
                  </a:moveTo>
                  <a:cubicBezTo>
                    <a:pt x="267" y="65"/>
                    <a:pt x="262" y="69"/>
                    <a:pt x="256" y="73"/>
                  </a:cubicBezTo>
                  <a:cubicBezTo>
                    <a:pt x="235" y="68"/>
                    <a:pt x="219" y="68"/>
                    <a:pt x="207" y="68"/>
                  </a:cubicBezTo>
                  <a:cubicBezTo>
                    <a:pt x="213" y="65"/>
                    <a:pt x="212" y="59"/>
                    <a:pt x="208" y="56"/>
                  </a:cubicBezTo>
                  <a:cubicBezTo>
                    <a:pt x="229" y="55"/>
                    <a:pt x="251" y="56"/>
                    <a:pt x="273" y="61"/>
                  </a:cubicBezTo>
                  <a:close/>
                  <a:moveTo>
                    <a:pt x="285" y="53"/>
                  </a:moveTo>
                  <a:cubicBezTo>
                    <a:pt x="283" y="55"/>
                    <a:pt x="280" y="56"/>
                    <a:pt x="277" y="58"/>
                  </a:cubicBezTo>
                  <a:cubicBezTo>
                    <a:pt x="277" y="58"/>
                    <a:pt x="277" y="58"/>
                    <a:pt x="277" y="58"/>
                  </a:cubicBezTo>
                  <a:cubicBezTo>
                    <a:pt x="268" y="56"/>
                    <a:pt x="259" y="54"/>
                    <a:pt x="251" y="54"/>
                  </a:cubicBezTo>
                  <a:cubicBezTo>
                    <a:pt x="253" y="52"/>
                    <a:pt x="252" y="49"/>
                    <a:pt x="250" y="48"/>
                  </a:cubicBezTo>
                  <a:cubicBezTo>
                    <a:pt x="263" y="48"/>
                    <a:pt x="270" y="49"/>
                    <a:pt x="285" y="53"/>
                  </a:cubicBezTo>
                  <a:close/>
                  <a:moveTo>
                    <a:pt x="440" y="36"/>
                  </a:moveTo>
                  <a:cubicBezTo>
                    <a:pt x="434" y="50"/>
                    <a:pt x="441" y="52"/>
                    <a:pt x="439" y="60"/>
                  </a:cubicBezTo>
                  <a:cubicBezTo>
                    <a:pt x="439" y="62"/>
                    <a:pt x="438" y="63"/>
                    <a:pt x="437" y="61"/>
                  </a:cubicBezTo>
                  <a:cubicBezTo>
                    <a:pt x="436" y="59"/>
                    <a:pt x="436" y="56"/>
                    <a:pt x="435" y="54"/>
                  </a:cubicBezTo>
                  <a:cubicBezTo>
                    <a:pt x="433" y="29"/>
                    <a:pt x="448" y="16"/>
                    <a:pt x="446" y="12"/>
                  </a:cubicBezTo>
                  <a:cubicBezTo>
                    <a:pt x="449" y="17"/>
                    <a:pt x="440" y="35"/>
                    <a:pt x="440" y="36"/>
                  </a:cubicBezTo>
                  <a:close/>
                  <a:moveTo>
                    <a:pt x="457" y="28"/>
                  </a:moveTo>
                  <a:cubicBezTo>
                    <a:pt x="442" y="32"/>
                    <a:pt x="436" y="53"/>
                    <a:pt x="444" y="35"/>
                  </a:cubicBezTo>
                  <a:cubicBezTo>
                    <a:pt x="445" y="32"/>
                    <a:pt x="454" y="26"/>
                    <a:pt x="457" y="28"/>
                  </a:cubicBezTo>
                  <a:close/>
                  <a:moveTo>
                    <a:pt x="354" y="215"/>
                  </a:moveTo>
                  <a:cubicBezTo>
                    <a:pt x="352" y="217"/>
                    <a:pt x="354" y="216"/>
                    <a:pt x="341" y="220"/>
                  </a:cubicBezTo>
                  <a:cubicBezTo>
                    <a:pt x="371" y="200"/>
                    <a:pt x="364" y="183"/>
                    <a:pt x="392" y="162"/>
                  </a:cubicBezTo>
                  <a:cubicBezTo>
                    <a:pt x="377" y="177"/>
                    <a:pt x="398" y="172"/>
                    <a:pt x="354" y="215"/>
                  </a:cubicBezTo>
                  <a:close/>
                  <a:moveTo>
                    <a:pt x="205" y="318"/>
                  </a:moveTo>
                  <a:cubicBezTo>
                    <a:pt x="207" y="315"/>
                    <a:pt x="209" y="313"/>
                    <a:pt x="213" y="311"/>
                  </a:cubicBezTo>
                  <a:cubicBezTo>
                    <a:pt x="216" y="310"/>
                    <a:pt x="219" y="309"/>
                    <a:pt x="223" y="307"/>
                  </a:cubicBezTo>
                  <a:cubicBezTo>
                    <a:pt x="216" y="315"/>
                    <a:pt x="213" y="319"/>
                    <a:pt x="212" y="322"/>
                  </a:cubicBezTo>
                  <a:cubicBezTo>
                    <a:pt x="214" y="321"/>
                    <a:pt x="215" y="320"/>
                    <a:pt x="228" y="305"/>
                  </a:cubicBezTo>
                  <a:cubicBezTo>
                    <a:pt x="232" y="303"/>
                    <a:pt x="236" y="302"/>
                    <a:pt x="240" y="300"/>
                  </a:cubicBezTo>
                  <a:cubicBezTo>
                    <a:pt x="226" y="315"/>
                    <a:pt x="213" y="326"/>
                    <a:pt x="209" y="331"/>
                  </a:cubicBezTo>
                  <a:cubicBezTo>
                    <a:pt x="219" y="326"/>
                    <a:pt x="242" y="302"/>
                    <a:pt x="245" y="297"/>
                  </a:cubicBezTo>
                  <a:cubicBezTo>
                    <a:pt x="249" y="296"/>
                    <a:pt x="253" y="294"/>
                    <a:pt x="256" y="292"/>
                  </a:cubicBezTo>
                  <a:cubicBezTo>
                    <a:pt x="241" y="311"/>
                    <a:pt x="227" y="320"/>
                    <a:pt x="221" y="326"/>
                  </a:cubicBezTo>
                  <a:cubicBezTo>
                    <a:pt x="234" y="320"/>
                    <a:pt x="252" y="302"/>
                    <a:pt x="262" y="290"/>
                  </a:cubicBezTo>
                  <a:cubicBezTo>
                    <a:pt x="270" y="285"/>
                    <a:pt x="268" y="286"/>
                    <a:pt x="270" y="285"/>
                  </a:cubicBezTo>
                  <a:cubicBezTo>
                    <a:pt x="257" y="304"/>
                    <a:pt x="245" y="317"/>
                    <a:pt x="226" y="329"/>
                  </a:cubicBezTo>
                  <a:cubicBezTo>
                    <a:pt x="201" y="343"/>
                    <a:pt x="200" y="336"/>
                    <a:pt x="199" y="339"/>
                  </a:cubicBezTo>
                  <a:cubicBezTo>
                    <a:pt x="202" y="331"/>
                    <a:pt x="198" y="332"/>
                    <a:pt x="205" y="318"/>
                  </a:cubicBezTo>
                  <a:close/>
                  <a:moveTo>
                    <a:pt x="129" y="348"/>
                  </a:moveTo>
                  <a:cubicBezTo>
                    <a:pt x="120" y="345"/>
                    <a:pt x="118" y="336"/>
                    <a:pt x="112" y="330"/>
                  </a:cubicBezTo>
                  <a:cubicBezTo>
                    <a:pt x="109" y="327"/>
                    <a:pt x="107" y="325"/>
                    <a:pt x="106" y="321"/>
                  </a:cubicBezTo>
                  <a:cubicBezTo>
                    <a:pt x="104" y="313"/>
                    <a:pt x="110" y="304"/>
                    <a:pt x="114" y="301"/>
                  </a:cubicBezTo>
                  <a:cubicBezTo>
                    <a:pt x="135" y="287"/>
                    <a:pt x="129" y="245"/>
                    <a:pt x="181" y="165"/>
                  </a:cubicBezTo>
                  <a:cubicBezTo>
                    <a:pt x="232" y="86"/>
                    <a:pt x="297" y="36"/>
                    <a:pt x="394" y="17"/>
                  </a:cubicBezTo>
                  <a:cubicBezTo>
                    <a:pt x="405" y="14"/>
                    <a:pt x="416" y="9"/>
                    <a:pt x="427" y="8"/>
                  </a:cubicBezTo>
                  <a:cubicBezTo>
                    <a:pt x="443" y="6"/>
                    <a:pt x="444" y="10"/>
                    <a:pt x="441" y="18"/>
                  </a:cubicBezTo>
                  <a:cubicBezTo>
                    <a:pt x="439" y="22"/>
                    <a:pt x="431" y="31"/>
                    <a:pt x="432" y="48"/>
                  </a:cubicBezTo>
                  <a:cubicBezTo>
                    <a:pt x="432" y="51"/>
                    <a:pt x="432" y="54"/>
                    <a:pt x="433" y="57"/>
                  </a:cubicBezTo>
                  <a:cubicBezTo>
                    <a:pt x="434" y="60"/>
                    <a:pt x="435" y="65"/>
                    <a:pt x="438" y="66"/>
                  </a:cubicBezTo>
                  <a:cubicBezTo>
                    <a:pt x="442" y="67"/>
                    <a:pt x="443" y="63"/>
                    <a:pt x="443" y="60"/>
                  </a:cubicBezTo>
                  <a:cubicBezTo>
                    <a:pt x="442" y="47"/>
                    <a:pt x="439" y="45"/>
                    <a:pt x="455" y="32"/>
                  </a:cubicBezTo>
                  <a:cubicBezTo>
                    <a:pt x="456" y="31"/>
                    <a:pt x="460" y="29"/>
                    <a:pt x="460" y="33"/>
                  </a:cubicBezTo>
                  <a:cubicBezTo>
                    <a:pt x="460" y="34"/>
                    <a:pt x="459" y="35"/>
                    <a:pt x="459" y="35"/>
                  </a:cubicBezTo>
                  <a:cubicBezTo>
                    <a:pt x="453" y="63"/>
                    <a:pt x="426" y="129"/>
                    <a:pt x="386" y="179"/>
                  </a:cubicBezTo>
                  <a:cubicBezTo>
                    <a:pt x="388" y="174"/>
                    <a:pt x="388" y="171"/>
                    <a:pt x="390" y="167"/>
                  </a:cubicBezTo>
                  <a:cubicBezTo>
                    <a:pt x="390" y="167"/>
                    <a:pt x="394" y="160"/>
                    <a:pt x="394" y="160"/>
                  </a:cubicBezTo>
                  <a:cubicBezTo>
                    <a:pt x="394" y="160"/>
                    <a:pt x="394" y="160"/>
                    <a:pt x="394" y="160"/>
                  </a:cubicBezTo>
                  <a:cubicBezTo>
                    <a:pt x="394" y="160"/>
                    <a:pt x="394" y="160"/>
                    <a:pt x="394" y="160"/>
                  </a:cubicBezTo>
                  <a:cubicBezTo>
                    <a:pt x="394" y="160"/>
                    <a:pt x="387" y="161"/>
                    <a:pt x="380" y="168"/>
                  </a:cubicBezTo>
                  <a:cubicBezTo>
                    <a:pt x="361" y="186"/>
                    <a:pt x="366" y="195"/>
                    <a:pt x="338" y="221"/>
                  </a:cubicBezTo>
                  <a:cubicBezTo>
                    <a:pt x="348" y="224"/>
                    <a:pt x="356" y="214"/>
                    <a:pt x="341" y="228"/>
                  </a:cubicBezTo>
                  <a:cubicBezTo>
                    <a:pt x="261" y="301"/>
                    <a:pt x="203" y="299"/>
                    <a:pt x="162" y="330"/>
                  </a:cubicBezTo>
                  <a:cubicBezTo>
                    <a:pt x="148" y="341"/>
                    <a:pt x="141" y="353"/>
                    <a:pt x="129" y="348"/>
                  </a:cubicBezTo>
                  <a:close/>
                  <a:moveTo>
                    <a:pt x="104" y="432"/>
                  </a:moveTo>
                  <a:cubicBezTo>
                    <a:pt x="105" y="431"/>
                    <a:pt x="106" y="429"/>
                    <a:pt x="107" y="427"/>
                  </a:cubicBezTo>
                  <a:cubicBezTo>
                    <a:pt x="114" y="412"/>
                    <a:pt x="122" y="392"/>
                    <a:pt x="131" y="358"/>
                  </a:cubicBezTo>
                  <a:cubicBezTo>
                    <a:pt x="119" y="386"/>
                    <a:pt x="106" y="425"/>
                    <a:pt x="105" y="426"/>
                  </a:cubicBezTo>
                  <a:cubicBezTo>
                    <a:pt x="105" y="428"/>
                    <a:pt x="104" y="430"/>
                    <a:pt x="104" y="431"/>
                  </a:cubicBezTo>
                  <a:cubicBezTo>
                    <a:pt x="102" y="429"/>
                    <a:pt x="101" y="428"/>
                    <a:pt x="101" y="428"/>
                  </a:cubicBezTo>
                  <a:cubicBezTo>
                    <a:pt x="99" y="424"/>
                    <a:pt x="98" y="419"/>
                    <a:pt x="96" y="415"/>
                  </a:cubicBezTo>
                  <a:cubicBezTo>
                    <a:pt x="110" y="398"/>
                    <a:pt x="117" y="375"/>
                    <a:pt x="122" y="355"/>
                  </a:cubicBezTo>
                  <a:cubicBezTo>
                    <a:pt x="104" y="398"/>
                    <a:pt x="106" y="391"/>
                    <a:pt x="96" y="414"/>
                  </a:cubicBezTo>
                  <a:cubicBezTo>
                    <a:pt x="94" y="407"/>
                    <a:pt x="92" y="400"/>
                    <a:pt x="90" y="394"/>
                  </a:cubicBezTo>
                  <a:cubicBezTo>
                    <a:pt x="108" y="377"/>
                    <a:pt x="118" y="350"/>
                    <a:pt x="118" y="350"/>
                  </a:cubicBezTo>
                  <a:cubicBezTo>
                    <a:pt x="118" y="350"/>
                    <a:pt x="112" y="355"/>
                    <a:pt x="89" y="393"/>
                  </a:cubicBezTo>
                  <a:cubicBezTo>
                    <a:pt x="87" y="388"/>
                    <a:pt x="85" y="382"/>
                    <a:pt x="82" y="377"/>
                  </a:cubicBezTo>
                  <a:cubicBezTo>
                    <a:pt x="100" y="366"/>
                    <a:pt x="113" y="345"/>
                    <a:pt x="113" y="345"/>
                  </a:cubicBezTo>
                  <a:cubicBezTo>
                    <a:pt x="113" y="345"/>
                    <a:pt x="99" y="355"/>
                    <a:pt x="81" y="376"/>
                  </a:cubicBezTo>
                  <a:cubicBezTo>
                    <a:pt x="74" y="365"/>
                    <a:pt x="63" y="355"/>
                    <a:pt x="52" y="349"/>
                  </a:cubicBezTo>
                  <a:cubicBezTo>
                    <a:pt x="66" y="342"/>
                    <a:pt x="68" y="338"/>
                    <a:pt x="99" y="329"/>
                  </a:cubicBezTo>
                  <a:cubicBezTo>
                    <a:pt x="98" y="329"/>
                    <a:pt x="89" y="327"/>
                    <a:pt x="72" y="334"/>
                  </a:cubicBezTo>
                  <a:cubicBezTo>
                    <a:pt x="62" y="339"/>
                    <a:pt x="55" y="344"/>
                    <a:pt x="51" y="349"/>
                  </a:cubicBezTo>
                  <a:cubicBezTo>
                    <a:pt x="45" y="345"/>
                    <a:pt x="38" y="343"/>
                    <a:pt x="31" y="341"/>
                  </a:cubicBezTo>
                  <a:cubicBezTo>
                    <a:pt x="57" y="331"/>
                    <a:pt x="63" y="327"/>
                    <a:pt x="98" y="322"/>
                  </a:cubicBezTo>
                  <a:cubicBezTo>
                    <a:pt x="97" y="322"/>
                    <a:pt x="84" y="320"/>
                    <a:pt x="61" y="326"/>
                  </a:cubicBezTo>
                  <a:cubicBezTo>
                    <a:pt x="47" y="330"/>
                    <a:pt x="36" y="336"/>
                    <a:pt x="30" y="341"/>
                  </a:cubicBezTo>
                  <a:cubicBezTo>
                    <a:pt x="7" y="335"/>
                    <a:pt x="5" y="337"/>
                    <a:pt x="5" y="333"/>
                  </a:cubicBezTo>
                  <a:cubicBezTo>
                    <a:pt x="28" y="307"/>
                    <a:pt x="74" y="318"/>
                    <a:pt x="106" y="305"/>
                  </a:cubicBezTo>
                  <a:cubicBezTo>
                    <a:pt x="104" y="306"/>
                    <a:pt x="103" y="309"/>
                    <a:pt x="102" y="311"/>
                  </a:cubicBezTo>
                  <a:cubicBezTo>
                    <a:pt x="102" y="313"/>
                    <a:pt x="101" y="315"/>
                    <a:pt x="102" y="318"/>
                  </a:cubicBezTo>
                  <a:cubicBezTo>
                    <a:pt x="102" y="323"/>
                    <a:pt x="106" y="327"/>
                    <a:pt x="110" y="332"/>
                  </a:cubicBezTo>
                  <a:cubicBezTo>
                    <a:pt x="115" y="337"/>
                    <a:pt x="117" y="344"/>
                    <a:pt x="123" y="348"/>
                  </a:cubicBezTo>
                  <a:cubicBezTo>
                    <a:pt x="130" y="353"/>
                    <a:pt x="138" y="353"/>
                    <a:pt x="144" y="349"/>
                  </a:cubicBezTo>
                  <a:cubicBezTo>
                    <a:pt x="139" y="352"/>
                    <a:pt x="134" y="392"/>
                    <a:pt x="118" y="428"/>
                  </a:cubicBezTo>
                  <a:cubicBezTo>
                    <a:pt x="110" y="446"/>
                    <a:pt x="110" y="444"/>
                    <a:pt x="104" y="43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4" name="Freeform 295">
              <a:extLst>
                <a:ext uri="{FF2B5EF4-FFF2-40B4-BE49-F238E27FC236}">
                  <a16:creationId xmlns:a16="http://schemas.microsoft.com/office/drawing/2014/main" id="{31FBF7D6-8B7A-4D9A-8DA8-9532CF0148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4788" y="1039813"/>
              <a:ext cx="195263" cy="171450"/>
            </a:xfrm>
            <a:custGeom>
              <a:avLst/>
              <a:gdLst>
                <a:gd name="T0" fmla="*/ 5 w 74"/>
                <a:gd name="T1" fmla="*/ 63 h 65"/>
                <a:gd name="T2" fmla="*/ 6 w 74"/>
                <a:gd name="T3" fmla="*/ 65 h 65"/>
                <a:gd name="T4" fmla="*/ 14 w 74"/>
                <a:gd name="T5" fmla="*/ 61 h 65"/>
                <a:gd name="T6" fmla="*/ 28 w 74"/>
                <a:gd name="T7" fmla="*/ 59 h 65"/>
                <a:gd name="T8" fmla="*/ 70 w 74"/>
                <a:gd name="T9" fmla="*/ 27 h 65"/>
                <a:gd name="T10" fmla="*/ 74 w 74"/>
                <a:gd name="T11" fmla="*/ 27 h 65"/>
                <a:gd name="T12" fmla="*/ 56 w 74"/>
                <a:gd name="T13" fmla="*/ 0 h 65"/>
                <a:gd name="T14" fmla="*/ 55 w 74"/>
                <a:gd name="T15" fmla="*/ 2 h 65"/>
                <a:gd name="T16" fmla="*/ 4 w 74"/>
                <a:gd name="T17" fmla="*/ 61 h 65"/>
                <a:gd name="T18" fmla="*/ 5 w 74"/>
                <a:gd name="T19" fmla="*/ 63 h 65"/>
                <a:gd name="T20" fmla="*/ 6 w 74"/>
                <a:gd name="T21" fmla="*/ 61 h 65"/>
                <a:gd name="T22" fmla="*/ 11 w 74"/>
                <a:gd name="T23" fmla="*/ 50 h 65"/>
                <a:gd name="T24" fmla="*/ 19 w 74"/>
                <a:gd name="T25" fmla="*/ 39 h 65"/>
                <a:gd name="T26" fmla="*/ 37 w 74"/>
                <a:gd name="T27" fmla="*/ 23 h 65"/>
                <a:gd name="T28" fmla="*/ 47 w 74"/>
                <a:gd name="T29" fmla="*/ 16 h 65"/>
                <a:gd name="T30" fmla="*/ 52 w 74"/>
                <a:gd name="T31" fmla="*/ 12 h 65"/>
                <a:gd name="T32" fmla="*/ 57 w 74"/>
                <a:gd name="T33" fmla="*/ 9 h 65"/>
                <a:gd name="T34" fmla="*/ 57 w 74"/>
                <a:gd name="T35" fmla="*/ 11 h 65"/>
                <a:gd name="T36" fmla="*/ 17 w 74"/>
                <a:gd name="T37" fmla="*/ 56 h 65"/>
                <a:gd name="T38" fmla="*/ 59 w 74"/>
                <a:gd name="T39" fmla="*/ 13 h 65"/>
                <a:gd name="T40" fmla="*/ 60 w 74"/>
                <a:gd name="T41" fmla="*/ 15 h 65"/>
                <a:gd name="T42" fmla="*/ 29 w 74"/>
                <a:gd name="T43" fmla="*/ 54 h 65"/>
                <a:gd name="T44" fmla="*/ 61 w 74"/>
                <a:gd name="T45" fmla="*/ 17 h 65"/>
                <a:gd name="T46" fmla="*/ 63 w 74"/>
                <a:gd name="T47" fmla="*/ 20 h 65"/>
                <a:gd name="T48" fmla="*/ 42 w 74"/>
                <a:gd name="T49" fmla="*/ 47 h 65"/>
                <a:gd name="T50" fmla="*/ 65 w 74"/>
                <a:gd name="T51" fmla="*/ 22 h 65"/>
                <a:gd name="T52" fmla="*/ 68 w 74"/>
                <a:gd name="T53" fmla="*/ 25 h 65"/>
                <a:gd name="T54" fmla="*/ 55 w 74"/>
                <a:gd name="T55" fmla="*/ 40 h 65"/>
                <a:gd name="T56" fmla="*/ 44 w 74"/>
                <a:gd name="T57" fmla="*/ 49 h 65"/>
                <a:gd name="T58" fmla="*/ 23 w 74"/>
                <a:gd name="T59" fmla="*/ 56 h 65"/>
                <a:gd name="T60" fmla="*/ 6 w 74"/>
                <a:gd name="T61" fmla="*/ 61 h 65"/>
                <a:gd name="T62" fmla="*/ 5 w 74"/>
                <a:gd name="T63" fmla="*/ 60 h 65"/>
                <a:gd name="T64" fmla="*/ 56 w 74"/>
                <a:gd name="T65" fmla="*/ 5 h 65"/>
                <a:gd name="T66" fmla="*/ 56 w 74"/>
                <a:gd name="T67" fmla="*/ 6 h 65"/>
                <a:gd name="T68" fmla="*/ 5 w 74"/>
                <a:gd name="T69" fmla="*/ 6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" h="65">
                  <a:moveTo>
                    <a:pt x="5" y="63"/>
                  </a:moveTo>
                  <a:cubicBezTo>
                    <a:pt x="5" y="64"/>
                    <a:pt x="5" y="65"/>
                    <a:pt x="6" y="65"/>
                  </a:cubicBezTo>
                  <a:cubicBezTo>
                    <a:pt x="8" y="64"/>
                    <a:pt x="11" y="62"/>
                    <a:pt x="14" y="61"/>
                  </a:cubicBezTo>
                  <a:cubicBezTo>
                    <a:pt x="18" y="60"/>
                    <a:pt x="23" y="59"/>
                    <a:pt x="28" y="59"/>
                  </a:cubicBezTo>
                  <a:cubicBezTo>
                    <a:pt x="46" y="56"/>
                    <a:pt x="63" y="39"/>
                    <a:pt x="70" y="27"/>
                  </a:cubicBezTo>
                  <a:cubicBezTo>
                    <a:pt x="71" y="28"/>
                    <a:pt x="73" y="28"/>
                    <a:pt x="74" y="27"/>
                  </a:cubicBezTo>
                  <a:cubicBezTo>
                    <a:pt x="57" y="12"/>
                    <a:pt x="57" y="4"/>
                    <a:pt x="56" y="0"/>
                  </a:cubicBezTo>
                  <a:cubicBezTo>
                    <a:pt x="56" y="1"/>
                    <a:pt x="55" y="1"/>
                    <a:pt x="55" y="2"/>
                  </a:cubicBezTo>
                  <a:cubicBezTo>
                    <a:pt x="45" y="1"/>
                    <a:pt x="0" y="31"/>
                    <a:pt x="4" y="61"/>
                  </a:cubicBezTo>
                  <a:cubicBezTo>
                    <a:pt x="4" y="61"/>
                    <a:pt x="4" y="62"/>
                    <a:pt x="5" y="63"/>
                  </a:cubicBezTo>
                  <a:close/>
                  <a:moveTo>
                    <a:pt x="6" y="61"/>
                  </a:moveTo>
                  <a:cubicBezTo>
                    <a:pt x="8" y="57"/>
                    <a:pt x="9" y="53"/>
                    <a:pt x="11" y="50"/>
                  </a:cubicBezTo>
                  <a:cubicBezTo>
                    <a:pt x="14" y="46"/>
                    <a:pt x="17" y="43"/>
                    <a:pt x="19" y="39"/>
                  </a:cubicBezTo>
                  <a:cubicBezTo>
                    <a:pt x="25" y="33"/>
                    <a:pt x="30" y="28"/>
                    <a:pt x="37" y="23"/>
                  </a:cubicBezTo>
                  <a:cubicBezTo>
                    <a:pt x="40" y="20"/>
                    <a:pt x="43" y="18"/>
                    <a:pt x="47" y="16"/>
                  </a:cubicBezTo>
                  <a:cubicBezTo>
                    <a:pt x="48" y="14"/>
                    <a:pt x="50" y="13"/>
                    <a:pt x="52" y="12"/>
                  </a:cubicBezTo>
                  <a:cubicBezTo>
                    <a:pt x="52" y="12"/>
                    <a:pt x="57" y="10"/>
                    <a:pt x="57" y="9"/>
                  </a:cubicBezTo>
                  <a:cubicBezTo>
                    <a:pt x="57" y="10"/>
                    <a:pt x="57" y="10"/>
                    <a:pt x="57" y="11"/>
                  </a:cubicBezTo>
                  <a:cubicBezTo>
                    <a:pt x="28" y="29"/>
                    <a:pt x="17" y="55"/>
                    <a:pt x="17" y="56"/>
                  </a:cubicBezTo>
                  <a:cubicBezTo>
                    <a:pt x="18" y="54"/>
                    <a:pt x="30" y="31"/>
                    <a:pt x="59" y="13"/>
                  </a:cubicBezTo>
                  <a:cubicBezTo>
                    <a:pt x="59" y="14"/>
                    <a:pt x="59" y="14"/>
                    <a:pt x="60" y="15"/>
                  </a:cubicBezTo>
                  <a:cubicBezTo>
                    <a:pt x="38" y="33"/>
                    <a:pt x="30" y="54"/>
                    <a:pt x="29" y="54"/>
                  </a:cubicBezTo>
                  <a:cubicBezTo>
                    <a:pt x="30" y="52"/>
                    <a:pt x="40" y="34"/>
                    <a:pt x="61" y="17"/>
                  </a:cubicBezTo>
                  <a:cubicBezTo>
                    <a:pt x="62" y="18"/>
                    <a:pt x="62" y="19"/>
                    <a:pt x="63" y="20"/>
                  </a:cubicBezTo>
                  <a:cubicBezTo>
                    <a:pt x="48" y="33"/>
                    <a:pt x="42" y="46"/>
                    <a:pt x="42" y="47"/>
                  </a:cubicBezTo>
                  <a:cubicBezTo>
                    <a:pt x="43" y="45"/>
                    <a:pt x="51" y="34"/>
                    <a:pt x="65" y="22"/>
                  </a:cubicBezTo>
                  <a:cubicBezTo>
                    <a:pt x="66" y="23"/>
                    <a:pt x="67" y="24"/>
                    <a:pt x="68" y="25"/>
                  </a:cubicBezTo>
                  <a:cubicBezTo>
                    <a:pt x="68" y="25"/>
                    <a:pt x="57" y="39"/>
                    <a:pt x="55" y="40"/>
                  </a:cubicBezTo>
                  <a:cubicBezTo>
                    <a:pt x="52" y="43"/>
                    <a:pt x="48" y="46"/>
                    <a:pt x="44" y="49"/>
                  </a:cubicBezTo>
                  <a:cubicBezTo>
                    <a:pt x="38" y="53"/>
                    <a:pt x="31" y="55"/>
                    <a:pt x="23" y="56"/>
                  </a:cubicBezTo>
                  <a:cubicBezTo>
                    <a:pt x="17" y="57"/>
                    <a:pt x="11" y="58"/>
                    <a:pt x="6" y="61"/>
                  </a:cubicBezTo>
                  <a:close/>
                  <a:moveTo>
                    <a:pt x="5" y="60"/>
                  </a:moveTo>
                  <a:cubicBezTo>
                    <a:pt x="2" y="47"/>
                    <a:pt x="25" y="12"/>
                    <a:pt x="56" y="5"/>
                  </a:cubicBezTo>
                  <a:cubicBezTo>
                    <a:pt x="56" y="5"/>
                    <a:pt x="56" y="6"/>
                    <a:pt x="56" y="6"/>
                  </a:cubicBezTo>
                  <a:cubicBezTo>
                    <a:pt x="34" y="19"/>
                    <a:pt x="15" y="36"/>
                    <a:pt x="5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5" name="Freeform 296">
              <a:extLst>
                <a:ext uri="{FF2B5EF4-FFF2-40B4-BE49-F238E27FC236}">
                  <a16:creationId xmlns:a16="http://schemas.microsoft.com/office/drawing/2014/main" id="{21A7B613-CBF2-4145-9C57-77B3E1819C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3700" y="860426"/>
              <a:ext cx="46038" cy="42863"/>
            </a:xfrm>
            <a:custGeom>
              <a:avLst/>
              <a:gdLst>
                <a:gd name="T0" fmla="*/ 13 w 17"/>
                <a:gd name="T1" fmla="*/ 7 h 16"/>
                <a:gd name="T2" fmla="*/ 3 w 17"/>
                <a:gd name="T3" fmla="*/ 8 h 16"/>
                <a:gd name="T4" fmla="*/ 13 w 17"/>
                <a:gd name="T5" fmla="*/ 7 h 16"/>
                <a:gd name="T6" fmla="*/ 9 w 17"/>
                <a:gd name="T7" fmla="*/ 6 h 16"/>
                <a:gd name="T8" fmla="*/ 7 w 17"/>
                <a:gd name="T9" fmla="*/ 8 h 16"/>
                <a:gd name="T10" fmla="*/ 9 w 17"/>
                <a:gd name="T1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3" y="7"/>
                  </a:moveTo>
                  <a:cubicBezTo>
                    <a:pt x="10" y="1"/>
                    <a:pt x="0" y="0"/>
                    <a:pt x="3" y="8"/>
                  </a:cubicBezTo>
                  <a:cubicBezTo>
                    <a:pt x="5" y="16"/>
                    <a:pt x="17" y="15"/>
                    <a:pt x="13" y="7"/>
                  </a:cubicBezTo>
                  <a:close/>
                  <a:moveTo>
                    <a:pt x="9" y="6"/>
                  </a:moveTo>
                  <a:cubicBezTo>
                    <a:pt x="10" y="7"/>
                    <a:pt x="9" y="9"/>
                    <a:pt x="7" y="8"/>
                  </a:cubicBezTo>
                  <a:cubicBezTo>
                    <a:pt x="5" y="7"/>
                    <a:pt x="8" y="4"/>
                    <a:pt x="9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6" name="Freeform 297">
              <a:extLst>
                <a:ext uri="{FF2B5EF4-FFF2-40B4-BE49-F238E27FC236}">
                  <a16:creationId xmlns:a16="http://schemas.microsoft.com/office/drawing/2014/main" id="{D4EF65EF-6C89-4A31-8DA5-D65D1EA82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4525" y="1627188"/>
              <a:ext cx="217488" cy="60325"/>
            </a:xfrm>
            <a:custGeom>
              <a:avLst/>
              <a:gdLst>
                <a:gd name="T0" fmla="*/ 82 w 82"/>
                <a:gd name="T1" fmla="*/ 1 h 23"/>
                <a:gd name="T2" fmla="*/ 0 w 82"/>
                <a:gd name="T3" fmla="*/ 23 h 23"/>
                <a:gd name="T4" fmla="*/ 82 w 82"/>
                <a:gd name="T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2" h="23">
                  <a:moveTo>
                    <a:pt x="82" y="1"/>
                  </a:moveTo>
                  <a:cubicBezTo>
                    <a:pt x="59" y="6"/>
                    <a:pt x="64" y="0"/>
                    <a:pt x="0" y="23"/>
                  </a:cubicBezTo>
                  <a:cubicBezTo>
                    <a:pt x="3" y="21"/>
                    <a:pt x="24" y="2"/>
                    <a:pt x="82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7" name="Freeform 298">
              <a:extLst>
                <a:ext uri="{FF2B5EF4-FFF2-40B4-BE49-F238E27FC236}">
                  <a16:creationId xmlns:a16="http://schemas.microsoft.com/office/drawing/2014/main" id="{F0ED0B2E-AEF2-4F3D-82F2-07452E83F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2650" y="16827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8" name="Freeform 299">
              <a:extLst>
                <a:ext uri="{FF2B5EF4-FFF2-40B4-BE49-F238E27FC236}">
                  <a16:creationId xmlns:a16="http://schemas.microsoft.com/office/drawing/2014/main" id="{C8ECB7B6-447C-44FB-927D-919DFE4AF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1682751"/>
              <a:ext cx="103188" cy="52388"/>
            </a:xfrm>
            <a:custGeom>
              <a:avLst/>
              <a:gdLst>
                <a:gd name="T0" fmla="*/ 39 w 39"/>
                <a:gd name="T1" fmla="*/ 0 h 20"/>
                <a:gd name="T2" fmla="*/ 0 w 39"/>
                <a:gd name="T3" fmla="*/ 20 h 20"/>
                <a:gd name="T4" fmla="*/ 39 w 3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9" h="20">
                  <a:moveTo>
                    <a:pt x="39" y="0"/>
                  </a:moveTo>
                  <a:cubicBezTo>
                    <a:pt x="37" y="0"/>
                    <a:pt x="15" y="13"/>
                    <a:pt x="0" y="20"/>
                  </a:cubicBezTo>
                  <a:cubicBezTo>
                    <a:pt x="1" y="20"/>
                    <a:pt x="14" y="2"/>
                    <a:pt x="39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9" name="Freeform 300">
              <a:extLst>
                <a:ext uri="{FF2B5EF4-FFF2-40B4-BE49-F238E27FC236}">
                  <a16:creationId xmlns:a16="http://schemas.microsoft.com/office/drawing/2014/main" id="{9E96269A-E04B-471C-8C3D-146DF5C1F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3275" y="1698626"/>
              <a:ext cx="87313" cy="60325"/>
            </a:xfrm>
            <a:custGeom>
              <a:avLst/>
              <a:gdLst>
                <a:gd name="T0" fmla="*/ 16 w 33"/>
                <a:gd name="T1" fmla="*/ 10 h 23"/>
                <a:gd name="T2" fmla="*/ 33 w 33"/>
                <a:gd name="T3" fmla="*/ 0 h 23"/>
                <a:gd name="T4" fmla="*/ 18 w 33"/>
                <a:gd name="T5" fmla="*/ 12 h 23"/>
                <a:gd name="T6" fmla="*/ 0 w 33"/>
                <a:gd name="T7" fmla="*/ 23 h 23"/>
                <a:gd name="T8" fmla="*/ 16 w 3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16" y="10"/>
                  </a:moveTo>
                  <a:cubicBezTo>
                    <a:pt x="29" y="0"/>
                    <a:pt x="33" y="0"/>
                    <a:pt x="33" y="0"/>
                  </a:cubicBezTo>
                  <a:cubicBezTo>
                    <a:pt x="33" y="0"/>
                    <a:pt x="30" y="3"/>
                    <a:pt x="18" y="12"/>
                  </a:cubicBezTo>
                  <a:cubicBezTo>
                    <a:pt x="4" y="22"/>
                    <a:pt x="0" y="23"/>
                    <a:pt x="0" y="23"/>
                  </a:cubicBezTo>
                  <a:cubicBezTo>
                    <a:pt x="0" y="23"/>
                    <a:pt x="2" y="19"/>
                    <a:pt x="16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0" name="Freeform 301">
              <a:extLst>
                <a:ext uri="{FF2B5EF4-FFF2-40B4-BE49-F238E27FC236}">
                  <a16:creationId xmlns:a16="http://schemas.microsoft.com/office/drawing/2014/main" id="{BFFCA202-09CB-4B44-8BC7-90D4453CA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538" y="1127126"/>
              <a:ext cx="39688" cy="50800"/>
            </a:xfrm>
            <a:custGeom>
              <a:avLst/>
              <a:gdLst>
                <a:gd name="T0" fmla="*/ 6 w 15"/>
                <a:gd name="T1" fmla="*/ 0 h 19"/>
                <a:gd name="T2" fmla="*/ 6 w 15"/>
                <a:gd name="T3" fmla="*/ 0 h 19"/>
                <a:gd name="T4" fmla="*/ 9 w 15"/>
                <a:gd name="T5" fmla="*/ 15 h 19"/>
                <a:gd name="T6" fmla="*/ 15 w 15"/>
                <a:gd name="T7" fmla="*/ 19 h 19"/>
                <a:gd name="T8" fmla="*/ 8 w 15"/>
                <a:gd name="T9" fmla="*/ 16 h 19"/>
                <a:gd name="T10" fmla="*/ 6 w 15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9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2" y="7"/>
                    <a:pt x="9" y="15"/>
                  </a:cubicBezTo>
                  <a:cubicBezTo>
                    <a:pt x="11" y="17"/>
                    <a:pt x="13" y="18"/>
                    <a:pt x="15" y="19"/>
                  </a:cubicBezTo>
                  <a:cubicBezTo>
                    <a:pt x="14" y="19"/>
                    <a:pt x="12" y="19"/>
                    <a:pt x="8" y="16"/>
                  </a:cubicBezTo>
                  <a:cubicBezTo>
                    <a:pt x="0" y="11"/>
                    <a:pt x="1" y="1"/>
                    <a:pt x="6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1" name="Freeform 302">
              <a:extLst>
                <a:ext uri="{FF2B5EF4-FFF2-40B4-BE49-F238E27FC236}">
                  <a16:creationId xmlns:a16="http://schemas.microsoft.com/office/drawing/2014/main" id="{3684AB21-6D05-432D-8B6B-C4E71F1B4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363" y="1225551"/>
              <a:ext cx="39688" cy="39688"/>
            </a:xfrm>
            <a:custGeom>
              <a:avLst/>
              <a:gdLst>
                <a:gd name="T0" fmla="*/ 15 w 15"/>
                <a:gd name="T1" fmla="*/ 13 h 15"/>
                <a:gd name="T2" fmla="*/ 14 w 15"/>
                <a:gd name="T3" fmla="*/ 14 h 15"/>
                <a:gd name="T4" fmla="*/ 6 w 15"/>
                <a:gd name="T5" fmla="*/ 0 h 15"/>
                <a:gd name="T6" fmla="*/ 10 w 15"/>
                <a:gd name="T7" fmla="*/ 11 h 15"/>
                <a:gd name="T8" fmla="*/ 15 w 15"/>
                <a:gd name="T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13"/>
                  </a:moveTo>
                  <a:cubicBezTo>
                    <a:pt x="15" y="13"/>
                    <a:pt x="14" y="13"/>
                    <a:pt x="14" y="14"/>
                  </a:cubicBezTo>
                  <a:cubicBezTo>
                    <a:pt x="5" y="15"/>
                    <a:pt x="0" y="2"/>
                    <a:pt x="6" y="0"/>
                  </a:cubicBezTo>
                  <a:cubicBezTo>
                    <a:pt x="5" y="0"/>
                    <a:pt x="5" y="6"/>
                    <a:pt x="10" y="11"/>
                  </a:cubicBezTo>
                  <a:cubicBezTo>
                    <a:pt x="12" y="12"/>
                    <a:pt x="14" y="12"/>
                    <a:pt x="15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2" name="Freeform 303">
              <a:extLst>
                <a:ext uri="{FF2B5EF4-FFF2-40B4-BE49-F238E27FC236}">
                  <a16:creationId xmlns:a16="http://schemas.microsoft.com/office/drawing/2014/main" id="{4D9DF4DF-5370-4A6F-AA7D-9601246AA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1254126"/>
              <a:ext cx="39688" cy="39688"/>
            </a:xfrm>
            <a:custGeom>
              <a:avLst/>
              <a:gdLst>
                <a:gd name="T0" fmla="*/ 5 w 15"/>
                <a:gd name="T1" fmla="*/ 0 h 15"/>
                <a:gd name="T2" fmla="*/ 15 w 15"/>
                <a:gd name="T3" fmla="*/ 13 h 15"/>
                <a:gd name="T4" fmla="*/ 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5" y="0"/>
                  </a:moveTo>
                  <a:cubicBezTo>
                    <a:pt x="5" y="6"/>
                    <a:pt x="11" y="10"/>
                    <a:pt x="15" y="13"/>
                  </a:cubicBezTo>
                  <a:cubicBezTo>
                    <a:pt x="8" y="15"/>
                    <a:pt x="0" y="2"/>
                    <a:pt x="5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3" name="Freeform 304">
              <a:extLst>
                <a:ext uri="{FF2B5EF4-FFF2-40B4-BE49-F238E27FC236}">
                  <a16:creationId xmlns:a16="http://schemas.microsoft.com/office/drawing/2014/main" id="{6739AD3C-AAF4-4C7B-893A-75E9003BC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913" y="1058863"/>
              <a:ext cx="36513" cy="36513"/>
            </a:xfrm>
            <a:custGeom>
              <a:avLst/>
              <a:gdLst>
                <a:gd name="T0" fmla="*/ 4 w 14"/>
                <a:gd name="T1" fmla="*/ 0 h 14"/>
                <a:gd name="T2" fmla="*/ 14 w 14"/>
                <a:gd name="T3" fmla="*/ 12 h 14"/>
                <a:gd name="T4" fmla="*/ 4 w 14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4" y="0"/>
                  </a:moveTo>
                  <a:cubicBezTo>
                    <a:pt x="5" y="6"/>
                    <a:pt x="11" y="9"/>
                    <a:pt x="14" y="12"/>
                  </a:cubicBezTo>
                  <a:cubicBezTo>
                    <a:pt x="7" y="14"/>
                    <a:pt x="0" y="2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4" name="Freeform 305">
              <a:extLst>
                <a:ext uri="{FF2B5EF4-FFF2-40B4-BE49-F238E27FC236}">
                  <a16:creationId xmlns:a16="http://schemas.microsoft.com/office/drawing/2014/main" id="{DCE3D07B-F52B-49FB-B750-CE6861BC3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3188" y="1055688"/>
              <a:ext cx="38100" cy="36513"/>
            </a:xfrm>
            <a:custGeom>
              <a:avLst/>
              <a:gdLst>
                <a:gd name="T0" fmla="*/ 4 w 14"/>
                <a:gd name="T1" fmla="*/ 0 h 14"/>
                <a:gd name="T2" fmla="*/ 14 w 14"/>
                <a:gd name="T3" fmla="*/ 12 h 14"/>
                <a:gd name="T4" fmla="*/ 4 w 14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4" y="0"/>
                  </a:moveTo>
                  <a:cubicBezTo>
                    <a:pt x="5" y="6"/>
                    <a:pt x="10" y="9"/>
                    <a:pt x="14" y="12"/>
                  </a:cubicBezTo>
                  <a:cubicBezTo>
                    <a:pt x="7" y="14"/>
                    <a:pt x="0" y="2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5" name="Freeform 306">
              <a:extLst>
                <a:ext uri="{FF2B5EF4-FFF2-40B4-BE49-F238E27FC236}">
                  <a16:creationId xmlns:a16="http://schemas.microsoft.com/office/drawing/2014/main" id="{957B3F73-1946-4C51-A8F9-4AA4B09A5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1346201"/>
              <a:ext cx="31750" cy="31750"/>
            </a:xfrm>
            <a:custGeom>
              <a:avLst/>
              <a:gdLst>
                <a:gd name="T0" fmla="*/ 12 w 12"/>
                <a:gd name="T1" fmla="*/ 12 h 12"/>
                <a:gd name="T2" fmla="*/ 10 w 12"/>
                <a:gd name="T3" fmla="*/ 12 h 12"/>
                <a:gd name="T4" fmla="*/ 0 w 12"/>
                <a:gd name="T5" fmla="*/ 1 h 12"/>
                <a:gd name="T6" fmla="*/ 1 w 12"/>
                <a:gd name="T7" fmla="*/ 0 h 12"/>
                <a:gd name="T8" fmla="*/ 12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cubicBezTo>
                    <a:pt x="11" y="12"/>
                    <a:pt x="11" y="12"/>
                    <a:pt x="10" y="12"/>
                  </a:cubicBezTo>
                  <a:cubicBezTo>
                    <a:pt x="5" y="11"/>
                    <a:pt x="0" y="5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6" y="8"/>
                    <a:pt x="8" y="8"/>
                    <a:pt x="12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6" name="Freeform 307">
              <a:extLst>
                <a:ext uri="{FF2B5EF4-FFF2-40B4-BE49-F238E27FC236}">
                  <a16:creationId xmlns:a16="http://schemas.microsoft.com/office/drawing/2014/main" id="{B80E5AF7-A1E2-4420-B2A3-AAD2A73F5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1408113"/>
              <a:ext cx="34925" cy="28575"/>
            </a:xfrm>
            <a:custGeom>
              <a:avLst/>
              <a:gdLst>
                <a:gd name="T0" fmla="*/ 13 w 13"/>
                <a:gd name="T1" fmla="*/ 9 h 11"/>
                <a:gd name="T2" fmla="*/ 12 w 13"/>
                <a:gd name="T3" fmla="*/ 10 h 11"/>
                <a:gd name="T4" fmla="*/ 2 w 13"/>
                <a:gd name="T5" fmla="*/ 0 h 11"/>
                <a:gd name="T6" fmla="*/ 7 w 13"/>
                <a:gd name="T7" fmla="*/ 6 h 11"/>
                <a:gd name="T8" fmla="*/ 13 w 13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13" y="9"/>
                  </a:moveTo>
                  <a:cubicBezTo>
                    <a:pt x="13" y="9"/>
                    <a:pt x="13" y="10"/>
                    <a:pt x="12" y="10"/>
                  </a:cubicBezTo>
                  <a:cubicBezTo>
                    <a:pt x="8" y="11"/>
                    <a:pt x="0" y="4"/>
                    <a:pt x="2" y="0"/>
                  </a:cubicBezTo>
                  <a:cubicBezTo>
                    <a:pt x="2" y="0"/>
                    <a:pt x="3" y="3"/>
                    <a:pt x="7" y="6"/>
                  </a:cubicBezTo>
                  <a:cubicBezTo>
                    <a:pt x="10" y="8"/>
                    <a:pt x="13" y="9"/>
                    <a:pt x="13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7" name="Freeform 308">
              <a:extLst>
                <a:ext uri="{FF2B5EF4-FFF2-40B4-BE49-F238E27FC236}">
                  <a16:creationId xmlns:a16="http://schemas.microsoft.com/office/drawing/2014/main" id="{D071D6F1-3996-4DDD-A608-2F600B415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6163" y="1501776"/>
              <a:ext cx="26988" cy="26988"/>
            </a:xfrm>
            <a:custGeom>
              <a:avLst/>
              <a:gdLst>
                <a:gd name="T0" fmla="*/ 10 w 10"/>
                <a:gd name="T1" fmla="*/ 7 h 10"/>
                <a:gd name="T2" fmla="*/ 3 w 10"/>
                <a:gd name="T3" fmla="*/ 0 h 10"/>
                <a:gd name="T4" fmla="*/ 4 w 10"/>
                <a:gd name="T5" fmla="*/ 1 h 10"/>
                <a:gd name="T6" fmla="*/ 10 w 10"/>
                <a:gd name="T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10" y="7"/>
                  </a:moveTo>
                  <a:cubicBezTo>
                    <a:pt x="7" y="10"/>
                    <a:pt x="0" y="3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6" y="4"/>
                    <a:pt x="6" y="5"/>
                    <a:pt x="10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8" name="Freeform 309">
              <a:extLst>
                <a:ext uri="{FF2B5EF4-FFF2-40B4-BE49-F238E27FC236}">
                  <a16:creationId xmlns:a16="http://schemas.microsoft.com/office/drawing/2014/main" id="{DAD80EDA-959A-45DB-9A37-6AEDDA76A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6050" y="1298576"/>
              <a:ext cx="28575" cy="26988"/>
            </a:xfrm>
            <a:custGeom>
              <a:avLst/>
              <a:gdLst>
                <a:gd name="T0" fmla="*/ 1 w 11"/>
                <a:gd name="T1" fmla="*/ 0 h 10"/>
                <a:gd name="T2" fmla="*/ 1 w 11"/>
                <a:gd name="T3" fmla="*/ 0 h 10"/>
                <a:gd name="T4" fmla="*/ 2 w 11"/>
                <a:gd name="T5" fmla="*/ 1 h 10"/>
                <a:gd name="T6" fmla="*/ 10 w 11"/>
                <a:gd name="T7" fmla="*/ 9 h 10"/>
                <a:gd name="T8" fmla="*/ 11 w 11"/>
                <a:gd name="T9" fmla="*/ 10 h 10"/>
                <a:gd name="T10" fmla="*/ 11 w 11"/>
                <a:gd name="T11" fmla="*/ 10 h 10"/>
                <a:gd name="T12" fmla="*/ 4 w 11"/>
                <a:gd name="T13" fmla="*/ 7 h 10"/>
                <a:gd name="T14" fmla="*/ 1 w 11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0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6" y="6"/>
                    <a:pt x="7" y="6"/>
                    <a:pt x="10" y="9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9" y="10"/>
                    <a:pt x="7" y="10"/>
                    <a:pt x="4" y="7"/>
                  </a:cubicBezTo>
                  <a:cubicBezTo>
                    <a:pt x="1" y="4"/>
                    <a:pt x="0" y="2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9" name="Freeform 310">
              <a:extLst>
                <a:ext uri="{FF2B5EF4-FFF2-40B4-BE49-F238E27FC236}">
                  <a16:creationId xmlns:a16="http://schemas.microsoft.com/office/drawing/2014/main" id="{1EAA0023-7CE5-446E-8713-728B00E7F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2238" y="958851"/>
              <a:ext cx="31750" cy="31750"/>
            </a:xfrm>
            <a:custGeom>
              <a:avLst/>
              <a:gdLst>
                <a:gd name="T0" fmla="*/ 12 w 12"/>
                <a:gd name="T1" fmla="*/ 10 h 12"/>
                <a:gd name="T2" fmla="*/ 5 w 12"/>
                <a:gd name="T3" fmla="*/ 0 h 12"/>
                <a:gd name="T4" fmla="*/ 12 w 12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2" y="10"/>
                  </a:moveTo>
                  <a:cubicBezTo>
                    <a:pt x="8" y="12"/>
                    <a:pt x="0" y="3"/>
                    <a:pt x="5" y="0"/>
                  </a:cubicBezTo>
                  <a:cubicBezTo>
                    <a:pt x="5" y="2"/>
                    <a:pt x="5" y="5"/>
                    <a:pt x="1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0" name="Freeform 311">
              <a:extLst>
                <a:ext uri="{FF2B5EF4-FFF2-40B4-BE49-F238E27FC236}">
                  <a16:creationId xmlns:a16="http://schemas.microsoft.com/office/drawing/2014/main" id="{00FBB761-CD20-4A96-B6BE-9C3DE1DB1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313" y="1011238"/>
              <a:ext cx="28575" cy="31750"/>
            </a:xfrm>
            <a:custGeom>
              <a:avLst/>
              <a:gdLst>
                <a:gd name="T0" fmla="*/ 11 w 11"/>
                <a:gd name="T1" fmla="*/ 12 h 12"/>
                <a:gd name="T2" fmla="*/ 5 w 11"/>
                <a:gd name="T3" fmla="*/ 0 h 12"/>
                <a:gd name="T4" fmla="*/ 11 w 11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cubicBezTo>
                    <a:pt x="5" y="12"/>
                    <a:pt x="0" y="4"/>
                    <a:pt x="5" y="0"/>
                  </a:cubicBezTo>
                  <a:cubicBezTo>
                    <a:pt x="3" y="7"/>
                    <a:pt x="11" y="12"/>
                    <a:pt x="11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2" name="Freeform 312">
              <a:extLst>
                <a:ext uri="{FF2B5EF4-FFF2-40B4-BE49-F238E27FC236}">
                  <a16:creationId xmlns:a16="http://schemas.microsoft.com/office/drawing/2014/main" id="{38603525-B723-48BC-B371-092138B92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6875" y="984251"/>
              <a:ext cx="112713" cy="227013"/>
            </a:xfrm>
            <a:custGeom>
              <a:avLst/>
              <a:gdLst>
                <a:gd name="T0" fmla="*/ 43 w 43"/>
                <a:gd name="T1" fmla="*/ 0 h 86"/>
                <a:gd name="T2" fmla="*/ 6 w 43"/>
                <a:gd name="T3" fmla="*/ 78 h 86"/>
                <a:gd name="T4" fmla="*/ 0 w 43"/>
                <a:gd name="T5" fmla="*/ 86 h 86"/>
                <a:gd name="T6" fmla="*/ 5 w 43"/>
                <a:gd name="T7" fmla="*/ 77 h 86"/>
                <a:gd name="T8" fmla="*/ 43 w 43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86">
                  <a:moveTo>
                    <a:pt x="43" y="0"/>
                  </a:moveTo>
                  <a:cubicBezTo>
                    <a:pt x="43" y="0"/>
                    <a:pt x="31" y="40"/>
                    <a:pt x="6" y="78"/>
                  </a:cubicBezTo>
                  <a:cubicBezTo>
                    <a:pt x="2" y="84"/>
                    <a:pt x="0" y="86"/>
                    <a:pt x="0" y="86"/>
                  </a:cubicBezTo>
                  <a:cubicBezTo>
                    <a:pt x="1" y="84"/>
                    <a:pt x="3" y="80"/>
                    <a:pt x="5" y="77"/>
                  </a:cubicBezTo>
                  <a:cubicBezTo>
                    <a:pt x="23" y="42"/>
                    <a:pt x="5" y="79"/>
                    <a:pt x="43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4" name="Freeform 313">
              <a:extLst>
                <a:ext uri="{FF2B5EF4-FFF2-40B4-BE49-F238E27FC236}">
                  <a16:creationId xmlns:a16="http://schemas.microsoft.com/office/drawing/2014/main" id="{7573FE88-747C-4AF3-96A8-B7EC4ECA2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2838" y="1412876"/>
              <a:ext cx="371475" cy="195263"/>
            </a:xfrm>
            <a:custGeom>
              <a:avLst/>
              <a:gdLst>
                <a:gd name="T0" fmla="*/ 141 w 141"/>
                <a:gd name="T1" fmla="*/ 0 h 74"/>
                <a:gd name="T2" fmla="*/ 0 w 141"/>
                <a:gd name="T3" fmla="*/ 74 h 74"/>
                <a:gd name="T4" fmla="*/ 141 w 141"/>
                <a:gd name="T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1" h="74">
                  <a:moveTo>
                    <a:pt x="141" y="0"/>
                  </a:moveTo>
                  <a:cubicBezTo>
                    <a:pt x="141" y="0"/>
                    <a:pt x="82" y="50"/>
                    <a:pt x="0" y="74"/>
                  </a:cubicBezTo>
                  <a:cubicBezTo>
                    <a:pt x="8" y="70"/>
                    <a:pt x="141" y="0"/>
                    <a:pt x="14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4" name="Freeform 314">
              <a:extLst>
                <a:ext uri="{FF2B5EF4-FFF2-40B4-BE49-F238E27FC236}">
                  <a16:creationId xmlns:a16="http://schemas.microsoft.com/office/drawing/2014/main" id="{A5B82762-499E-41E5-80D0-480417266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2675" y="955676"/>
              <a:ext cx="293688" cy="306388"/>
            </a:xfrm>
            <a:custGeom>
              <a:avLst/>
              <a:gdLst>
                <a:gd name="T0" fmla="*/ 2 w 111"/>
                <a:gd name="T1" fmla="*/ 113 h 116"/>
                <a:gd name="T2" fmla="*/ 0 w 111"/>
                <a:gd name="T3" fmla="*/ 116 h 116"/>
                <a:gd name="T4" fmla="*/ 2 w 111"/>
                <a:gd name="T5" fmla="*/ 112 h 116"/>
                <a:gd name="T6" fmla="*/ 9 w 111"/>
                <a:gd name="T7" fmla="*/ 101 h 116"/>
                <a:gd name="T8" fmla="*/ 111 w 111"/>
                <a:gd name="T9" fmla="*/ 0 h 116"/>
                <a:gd name="T10" fmla="*/ 2 w 111"/>
                <a:gd name="T11" fmla="*/ 11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16">
                  <a:moveTo>
                    <a:pt x="2" y="113"/>
                  </a:moveTo>
                  <a:cubicBezTo>
                    <a:pt x="1" y="115"/>
                    <a:pt x="0" y="116"/>
                    <a:pt x="0" y="116"/>
                  </a:cubicBezTo>
                  <a:cubicBezTo>
                    <a:pt x="0" y="116"/>
                    <a:pt x="1" y="115"/>
                    <a:pt x="2" y="112"/>
                  </a:cubicBezTo>
                  <a:cubicBezTo>
                    <a:pt x="3" y="110"/>
                    <a:pt x="5" y="106"/>
                    <a:pt x="9" y="101"/>
                  </a:cubicBezTo>
                  <a:cubicBezTo>
                    <a:pt x="33" y="63"/>
                    <a:pt x="73" y="22"/>
                    <a:pt x="111" y="0"/>
                  </a:cubicBezTo>
                  <a:cubicBezTo>
                    <a:pt x="101" y="10"/>
                    <a:pt x="61" y="34"/>
                    <a:pt x="2" y="1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8" name="Freeform 315">
              <a:extLst>
                <a:ext uri="{FF2B5EF4-FFF2-40B4-BE49-F238E27FC236}">
                  <a16:creationId xmlns:a16="http://schemas.microsoft.com/office/drawing/2014/main" id="{4DEB1A49-3ADF-4010-A926-466500BE5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0363" y="860426"/>
              <a:ext cx="88900" cy="68263"/>
            </a:xfrm>
            <a:custGeom>
              <a:avLst/>
              <a:gdLst>
                <a:gd name="T0" fmla="*/ 33 w 34"/>
                <a:gd name="T1" fmla="*/ 23 h 26"/>
                <a:gd name="T2" fmla="*/ 34 w 34"/>
                <a:gd name="T3" fmla="*/ 22 h 26"/>
                <a:gd name="T4" fmla="*/ 22 w 34"/>
                <a:gd name="T5" fmla="*/ 25 h 26"/>
                <a:gd name="T6" fmla="*/ 8 w 34"/>
                <a:gd name="T7" fmla="*/ 0 h 26"/>
                <a:gd name="T8" fmla="*/ 9 w 34"/>
                <a:gd name="T9" fmla="*/ 0 h 26"/>
                <a:gd name="T10" fmla="*/ 12 w 34"/>
                <a:gd name="T11" fmla="*/ 17 h 26"/>
                <a:gd name="T12" fmla="*/ 29 w 34"/>
                <a:gd name="T13" fmla="*/ 23 h 26"/>
                <a:gd name="T14" fmla="*/ 33 w 34"/>
                <a:gd name="T15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6">
                  <a:moveTo>
                    <a:pt x="33" y="23"/>
                  </a:moveTo>
                  <a:cubicBezTo>
                    <a:pt x="33" y="22"/>
                    <a:pt x="34" y="22"/>
                    <a:pt x="34" y="22"/>
                  </a:cubicBezTo>
                  <a:cubicBezTo>
                    <a:pt x="32" y="25"/>
                    <a:pt x="26" y="26"/>
                    <a:pt x="22" y="25"/>
                  </a:cubicBezTo>
                  <a:cubicBezTo>
                    <a:pt x="8" y="21"/>
                    <a:pt x="0" y="4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2" y="7"/>
                    <a:pt x="12" y="17"/>
                  </a:cubicBezTo>
                  <a:cubicBezTo>
                    <a:pt x="17" y="22"/>
                    <a:pt x="23" y="24"/>
                    <a:pt x="29" y="23"/>
                  </a:cubicBezTo>
                  <a:cubicBezTo>
                    <a:pt x="30" y="23"/>
                    <a:pt x="31" y="23"/>
                    <a:pt x="33" y="2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9" name="Freeform 316">
              <a:extLst>
                <a:ext uri="{FF2B5EF4-FFF2-40B4-BE49-F238E27FC236}">
                  <a16:creationId xmlns:a16="http://schemas.microsoft.com/office/drawing/2014/main" id="{934B0687-DB97-4100-A547-71FE5BD8F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817563"/>
              <a:ext cx="93663" cy="31750"/>
            </a:xfrm>
            <a:custGeom>
              <a:avLst/>
              <a:gdLst>
                <a:gd name="T0" fmla="*/ 33 w 35"/>
                <a:gd name="T1" fmla="*/ 3 h 12"/>
                <a:gd name="T2" fmla="*/ 35 w 35"/>
                <a:gd name="T3" fmla="*/ 3 h 12"/>
                <a:gd name="T4" fmla="*/ 16 w 35"/>
                <a:gd name="T5" fmla="*/ 8 h 12"/>
                <a:gd name="T6" fmla="*/ 33 w 35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12">
                  <a:moveTo>
                    <a:pt x="33" y="3"/>
                  </a:moveTo>
                  <a:cubicBezTo>
                    <a:pt x="35" y="3"/>
                    <a:pt x="35" y="3"/>
                    <a:pt x="35" y="3"/>
                  </a:cubicBezTo>
                  <a:cubicBezTo>
                    <a:pt x="0" y="12"/>
                    <a:pt x="28" y="5"/>
                    <a:pt x="16" y="8"/>
                  </a:cubicBezTo>
                  <a:cubicBezTo>
                    <a:pt x="16" y="8"/>
                    <a:pt x="22" y="0"/>
                    <a:pt x="33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0" name="Freeform 317">
              <a:extLst>
                <a:ext uri="{FF2B5EF4-FFF2-40B4-BE49-F238E27FC236}">
                  <a16:creationId xmlns:a16="http://schemas.microsoft.com/office/drawing/2014/main" id="{28949C49-43D9-4083-8D64-53A8D8DB4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1644651"/>
              <a:ext cx="117475" cy="85725"/>
            </a:xfrm>
            <a:custGeom>
              <a:avLst/>
              <a:gdLst>
                <a:gd name="T0" fmla="*/ 1 w 45"/>
                <a:gd name="T1" fmla="*/ 20 h 32"/>
                <a:gd name="T2" fmla="*/ 0 w 45"/>
                <a:gd name="T3" fmla="*/ 18 h 32"/>
                <a:gd name="T4" fmla="*/ 1 w 45"/>
                <a:gd name="T5" fmla="*/ 20 h 32"/>
                <a:gd name="T6" fmla="*/ 33 w 45"/>
                <a:gd name="T7" fmla="*/ 4 h 32"/>
                <a:gd name="T8" fmla="*/ 45 w 45"/>
                <a:gd name="T9" fmla="*/ 0 h 32"/>
                <a:gd name="T10" fmla="*/ 44 w 45"/>
                <a:gd name="T11" fmla="*/ 0 h 32"/>
                <a:gd name="T12" fmla="*/ 40 w 45"/>
                <a:gd name="T13" fmla="*/ 2 h 32"/>
                <a:gd name="T14" fmla="*/ 5 w 45"/>
                <a:gd name="T15" fmla="*/ 24 h 32"/>
                <a:gd name="T16" fmla="*/ 1 w 45"/>
                <a:gd name="T17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32">
                  <a:moveTo>
                    <a:pt x="1" y="20"/>
                  </a:moveTo>
                  <a:cubicBezTo>
                    <a:pt x="0" y="19"/>
                    <a:pt x="0" y="18"/>
                    <a:pt x="0" y="18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4" y="32"/>
                    <a:pt x="21" y="13"/>
                    <a:pt x="33" y="4"/>
                  </a:cubicBezTo>
                  <a:cubicBezTo>
                    <a:pt x="40" y="0"/>
                    <a:pt x="45" y="0"/>
                    <a:pt x="45" y="0"/>
                  </a:cubicBezTo>
                  <a:cubicBezTo>
                    <a:pt x="45" y="0"/>
                    <a:pt x="45" y="0"/>
                    <a:pt x="44" y="0"/>
                  </a:cubicBezTo>
                  <a:cubicBezTo>
                    <a:pt x="43" y="1"/>
                    <a:pt x="42" y="1"/>
                    <a:pt x="40" y="2"/>
                  </a:cubicBezTo>
                  <a:cubicBezTo>
                    <a:pt x="24" y="13"/>
                    <a:pt x="20" y="32"/>
                    <a:pt x="5" y="24"/>
                  </a:cubicBezTo>
                  <a:cubicBezTo>
                    <a:pt x="3" y="22"/>
                    <a:pt x="1" y="21"/>
                    <a:pt x="1" y="2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1" name="Freeform 318">
              <a:extLst>
                <a:ext uri="{FF2B5EF4-FFF2-40B4-BE49-F238E27FC236}">
                  <a16:creationId xmlns:a16="http://schemas.microsoft.com/office/drawing/2014/main" id="{358EAEC4-8A8B-4EF8-9628-CB4D5F0AD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813" y="976313"/>
              <a:ext cx="177800" cy="98425"/>
            </a:xfrm>
            <a:custGeom>
              <a:avLst/>
              <a:gdLst>
                <a:gd name="T0" fmla="*/ 45 w 67"/>
                <a:gd name="T1" fmla="*/ 30 h 37"/>
                <a:gd name="T2" fmla="*/ 67 w 67"/>
                <a:gd name="T3" fmla="*/ 26 h 37"/>
                <a:gd name="T4" fmla="*/ 66 w 67"/>
                <a:gd name="T5" fmla="*/ 28 h 37"/>
                <a:gd name="T6" fmla="*/ 63 w 67"/>
                <a:gd name="T7" fmla="*/ 32 h 37"/>
                <a:gd name="T8" fmla="*/ 53 w 67"/>
                <a:gd name="T9" fmla="*/ 35 h 37"/>
                <a:gd name="T10" fmla="*/ 44 w 67"/>
                <a:gd name="T11" fmla="*/ 32 h 37"/>
                <a:gd name="T12" fmla="*/ 24 w 67"/>
                <a:gd name="T13" fmla="*/ 21 h 37"/>
                <a:gd name="T14" fmla="*/ 1 w 67"/>
                <a:gd name="T15" fmla="*/ 1 h 37"/>
                <a:gd name="T16" fmla="*/ 0 w 67"/>
                <a:gd name="T17" fmla="*/ 0 h 37"/>
                <a:gd name="T18" fmla="*/ 1 w 67"/>
                <a:gd name="T19" fmla="*/ 1 h 37"/>
                <a:gd name="T20" fmla="*/ 35 w 67"/>
                <a:gd name="T21" fmla="*/ 24 h 37"/>
                <a:gd name="T22" fmla="*/ 45 w 67"/>
                <a:gd name="T23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37">
                  <a:moveTo>
                    <a:pt x="45" y="30"/>
                  </a:moveTo>
                  <a:cubicBezTo>
                    <a:pt x="59" y="37"/>
                    <a:pt x="66" y="26"/>
                    <a:pt x="67" y="26"/>
                  </a:cubicBezTo>
                  <a:cubicBezTo>
                    <a:pt x="67" y="26"/>
                    <a:pt x="67" y="27"/>
                    <a:pt x="66" y="28"/>
                  </a:cubicBezTo>
                  <a:cubicBezTo>
                    <a:pt x="66" y="29"/>
                    <a:pt x="65" y="30"/>
                    <a:pt x="63" y="32"/>
                  </a:cubicBezTo>
                  <a:cubicBezTo>
                    <a:pt x="61" y="34"/>
                    <a:pt x="58" y="35"/>
                    <a:pt x="53" y="35"/>
                  </a:cubicBezTo>
                  <a:cubicBezTo>
                    <a:pt x="50" y="35"/>
                    <a:pt x="47" y="34"/>
                    <a:pt x="44" y="32"/>
                  </a:cubicBezTo>
                  <a:cubicBezTo>
                    <a:pt x="36" y="28"/>
                    <a:pt x="36" y="25"/>
                    <a:pt x="24" y="21"/>
                  </a:cubicBezTo>
                  <a:cubicBezTo>
                    <a:pt x="11" y="17"/>
                    <a:pt x="5" y="14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13" y="20"/>
                    <a:pt x="22" y="14"/>
                    <a:pt x="35" y="24"/>
                  </a:cubicBezTo>
                  <a:cubicBezTo>
                    <a:pt x="39" y="26"/>
                    <a:pt x="43" y="29"/>
                    <a:pt x="45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2" name="Freeform 319">
              <a:extLst>
                <a:ext uri="{FF2B5EF4-FFF2-40B4-BE49-F238E27FC236}">
                  <a16:creationId xmlns:a16="http://schemas.microsoft.com/office/drawing/2014/main" id="{992D77CC-170E-43FD-9E37-5B02FF297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2213" y="1074738"/>
              <a:ext cx="76200" cy="92075"/>
            </a:xfrm>
            <a:custGeom>
              <a:avLst/>
              <a:gdLst>
                <a:gd name="T0" fmla="*/ 11 w 29"/>
                <a:gd name="T1" fmla="*/ 14 h 35"/>
                <a:gd name="T2" fmla="*/ 28 w 29"/>
                <a:gd name="T3" fmla="*/ 2 h 35"/>
                <a:gd name="T4" fmla="*/ 29 w 29"/>
                <a:gd name="T5" fmla="*/ 2 h 35"/>
                <a:gd name="T6" fmla="*/ 11 w 29"/>
                <a:gd name="T7" fmla="*/ 18 h 35"/>
                <a:gd name="T8" fmla="*/ 11 w 29"/>
                <a:gd name="T9" fmla="*/ 35 h 35"/>
                <a:gd name="T10" fmla="*/ 7 w 29"/>
                <a:gd name="T11" fmla="*/ 19 h 35"/>
                <a:gd name="T12" fmla="*/ 11 w 29"/>
                <a:gd name="T13" fmla="*/ 1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5">
                  <a:moveTo>
                    <a:pt x="11" y="14"/>
                  </a:moveTo>
                  <a:cubicBezTo>
                    <a:pt x="12" y="13"/>
                    <a:pt x="17" y="0"/>
                    <a:pt x="28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15" y="4"/>
                    <a:pt x="17" y="12"/>
                    <a:pt x="11" y="18"/>
                  </a:cubicBezTo>
                  <a:cubicBezTo>
                    <a:pt x="4" y="24"/>
                    <a:pt x="6" y="26"/>
                    <a:pt x="11" y="35"/>
                  </a:cubicBezTo>
                  <a:cubicBezTo>
                    <a:pt x="10" y="34"/>
                    <a:pt x="0" y="26"/>
                    <a:pt x="7" y="19"/>
                  </a:cubicBezTo>
                  <a:cubicBezTo>
                    <a:pt x="9" y="17"/>
                    <a:pt x="10" y="16"/>
                    <a:pt x="11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3" name="Freeform 320">
              <a:extLst>
                <a:ext uri="{FF2B5EF4-FFF2-40B4-BE49-F238E27FC236}">
                  <a16:creationId xmlns:a16="http://schemas.microsoft.com/office/drawing/2014/main" id="{6DF68D21-34E3-40A4-A2AB-193739480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4900" y="1012826"/>
              <a:ext cx="87313" cy="79375"/>
            </a:xfrm>
            <a:custGeom>
              <a:avLst/>
              <a:gdLst>
                <a:gd name="T0" fmla="*/ 21 w 33"/>
                <a:gd name="T1" fmla="*/ 30 h 30"/>
                <a:gd name="T2" fmla="*/ 21 w 33"/>
                <a:gd name="T3" fmla="*/ 29 h 30"/>
                <a:gd name="T4" fmla="*/ 4 w 33"/>
                <a:gd name="T5" fmla="*/ 15 h 30"/>
                <a:gd name="T6" fmla="*/ 2 w 33"/>
                <a:gd name="T7" fmla="*/ 7 h 30"/>
                <a:gd name="T8" fmla="*/ 0 w 33"/>
                <a:gd name="T9" fmla="*/ 3 h 30"/>
                <a:gd name="T10" fmla="*/ 1 w 33"/>
                <a:gd name="T11" fmla="*/ 1 h 30"/>
                <a:gd name="T12" fmla="*/ 21 w 33"/>
                <a:gd name="T13" fmla="*/ 8 h 30"/>
                <a:gd name="T14" fmla="*/ 32 w 33"/>
                <a:gd name="T15" fmla="*/ 21 h 30"/>
                <a:gd name="T16" fmla="*/ 11 w 33"/>
                <a:gd name="T17" fmla="*/ 5 h 30"/>
                <a:gd name="T18" fmla="*/ 2 w 33"/>
                <a:gd name="T19" fmla="*/ 2 h 30"/>
                <a:gd name="T20" fmla="*/ 3 w 33"/>
                <a:gd name="T21" fmla="*/ 5 h 30"/>
                <a:gd name="T22" fmla="*/ 5 w 33"/>
                <a:gd name="T23" fmla="*/ 13 h 30"/>
                <a:gd name="T24" fmla="*/ 21 w 33"/>
                <a:gd name="T25" fmla="*/ 29 h 30"/>
                <a:gd name="T26" fmla="*/ 25 w 33"/>
                <a:gd name="T27" fmla="*/ 23 h 30"/>
                <a:gd name="T28" fmla="*/ 28 w 33"/>
                <a:gd name="T29" fmla="*/ 21 h 30"/>
                <a:gd name="T30" fmla="*/ 32 w 33"/>
                <a:gd name="T31" fmla="*/ 22 h 30"/>
                <a:gd name="T32" fmla="*/ 21 w 33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" h="30">
                  <a:moveTo>
                    <a:pt x="21" y="30"/>
                  </a:moveTo>
                  <a:cubicBezTo>
                    <a:pt x="21" y="30"/>
                    <a:pt x="21" y="30"/>
                    <a:pt x="21" y="29"/>
                  </a:cubicBezTo>
                  <a:cubicBezTo>
                    <a:pt x="17" y="27"/>
                    <a:pt x="5" y="16"/>
                    <a:pt x="4" y="15"/>
                  </a:cubicBezTo>
                  <a:cubicBezTo>
                    <a:pt x="1" y="12"/>
                    <a:pt x="2" y="9"/>
                    <a:pt x="2" y="7"/>
                  </a:cubicBezTo>
                  <a:cubicBezTo>
                    <a:pt x="2" y="5"/>
                    <a:pt x="1" y="5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18" y="7"/>
                    <a:pt x="21" y="8"/>
                  </a:cubicBezTo>
                  <a:cubicBezTo>
                    <a:pt x="27" y="13"/>
                    <a:pt x="33" y="19"/>
                    <a:pt x="32" y="21"/>
                  </a:cubicBezTo>
                  <a:cubicBezTo>
                    <a:pt x="30" y="18"/>
                    <a:pt x="23" y="10"/>
                    <a:pt x="11" y="5"/>
                  </a:cubicBezTo>
                  <a:cubicBezTo>
                    <a:pt x="9" y="4"/>
                    <a:pt x="1" y="1"/>
                    <a:pt x="2" y="2"/>
                  </a:cubicBezTo>
                  <a:cubicBezTo>
                    <a:pt x="2" y="2"/>
                    <a:pt x="2" y="2"/>
                    <a:pt x="3" y="5"/>
                  </a:cubicBezTo>
                  <a:cubicBezTo>
                    <a:pt x="5" y="8"/>
                    <a:pt x="2" y="9"/>
                    <a:pt x="5" y="13"/>
                  </a:cubicBezTo>
                  <a:cubicBezTo>
                    <a:pt x="6" y="14"/>
                    <a:pt x="17" y="24"/>
                    <a:pt x="21" y="29"/>
                  </a:cubicBezTo>
                  <a:cubicBezTo>
                    <a:pt x="21" y="27"/>
                    <a:pt x="23" y="25"/>
                    <a:pt x="25" y="23"/>
                  </a:cubicBezTo>
                  <a:cubicBezTo>
                    <a:pt x="26" y="22"/>
                    <a:pt x="27" y="22"/>
                    <a:pt x="28" y="21"/>
                  </a:cubicBezTo>
                  <a:cubicBezTo>
                    <a:pt x="31" y="21"/>
                    <a:pt x="32" y="22"/>
                    <a:pt x="32" y="22"/>
                  </a:cubicBezTo>
                  <a:cubicBezTo>
                    <a:pt x="26" y="23"/>
                    <a:pt x="26" y="24"/>
                    <a:pt x="21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4" name="Freeform 321">
              <a:extLst>
                <a:ext uri="{FF2B5EF4-FFF2-40B4-BE49-F238E27FC236}">
                  <a16:creationId xmlns:a16="http://schemas.microsoft.com/office/drawing/2014/main" id="{45B07CD7-6ED7-4FD1-9360-F9512BB95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2363" y="1027113"/>
              <a:ext cx="61913" cy="41275"/>
            </a:xfrm>
            <a:custGeom>
              <a:avLst/>
              <a:gdLst>
                <a:gd name="T0" fmla="*/ 23 w 23"/>
                <a:gd name="T1" fmla="*/ 16 h 16"/>
                <a:gd name="T2" fmla="*/ 0 w 23"/>
                <a:gd name="T3" fmla="*/ 0 h 16"/>
                <a:gd name="T4" fmla="*/ 23 w 23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16">
                  <a:moveTo>
                    <a:pt x="23" y="16"/>
                  </a:moveTo>
                  <a:cubicBezTo>
                    <a:pt x="12" y="7"/>
                    <a:pt x="10" y="6"/>
                    <a:pt x="0" y="0"/>
                  </a:cubicBezTo>
                  <a:cubicBezTo>
                    <a:pt x="0" y="0"/>
                    <a:pt x="11" y="2"/>
                    <a:pt x="23" y="1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5" name="Freeform 322">
              <a:extLst>
                <a:ext uri="{FF2B5EF4-FFF2-40B4-BE49-F238E27FC236}">
                  <a16:creationId xmlns:a16="http://schemas.microsoft.com/office/drawing/2014/main" id="{8423BA32-957C-4037-A34C-6F076AEA0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0775" y="1028701"/>
              <a:ext cx="71438" cy="50800"/>
            </a:xfrm>
            <a:custGeom>
              <a:avLst/>
              <a:gdLst>
                <a:gd name="T0" fmla="*/ 11 w 27"/>
                <a:gd name="T1" fmla="*/ 7 h 19"/>
                <a:gd name="T2" fmla="*/ 21 w 27"/>
                <a:gd name="T3" fmla="*/ 15 h 19"/>
                <a:gd name="T4" fmla="*/ 10 w 27"/>
                <a:gd name="T5" fmla="*/ 8 h 19"/>
                <a:gd name="T6" fmla="*/ 2 w 27"/>
                <a:gd name="T7" fmla="*/ 2 h 19"/>
                <a:gd name="T8" fmla="*/ 0 w 27"/>
                <a:gd name="T9" fmla="*/ 0 h 19"/>
                <a:gd name="T10" fmla="*/ 11 w 27"/>
                <a:gd name="T11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9">
                  <a:moveTo>
                    <a:pt x="11" y="7"/>
                  </a:moveTo>
                  <a:cubicBezTo>
                    <a:pt x="18" y="12"/>
                    <a:pt x="21" y="15"/>
                    <a:pt x="21" y="15"/>
                  </a:cubicBezTo>
                  <a:cubicBezTo>
                    <a:pt x="16" y="11"/>
                    <a:pt x="27" y="19"/>
                    <a:pt x="10" y="8"/>
                  </a:cubicBezTo>
                  <a:cubicBezTo>
                    <a:pt x="6" y="5"/>
                    <a:pt x="3" y="3"/>
                    <a:pt x="2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3" y="2"/>
                    <a:pt x="11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6" name="Freeform 323">
              <a:extLst>
                <a:ext uri="{FF2B5EF4-FFF2-40B4-BE49-F238E27FC236}">
                  <a16:creationId xmlns:a16="http://schemas.microsoft.com/office/drawing/2014/main" id="{751330D1-5C20-4B1D-91FF-7DBF5DC73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7600" y="1036638"/>
              <a:ext cx="47625" cy="34925"/>
            </a:xfrm>
            <a:custGeom>
              <a:avLst/>
              <a:gdLst>
                <a:gd name="T0" fmla="*/ 18 w 18"/>
                <a:gd name="T1" fmla="*/ 13 h 13"/>
                <a:gd name="T2" fmla="*/ 0 w 18"/>
                <a:gd name="T3" fmla="*/ 0 h 13"/>
                <a:gd name="T4" fmla="*/ 18 w 18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18" y="13"/>
                  </a:moveTo>
                  <a:cubicBezTo>
                    <a:pt x="11" y="8"/>
                    <a:pt x="8" y="6"/>
                    <a:pt x="0" y="0"/>
                  </a:cubicBezTo>
                  <a:cubicBezTo>
                    <a:pt x="1" y="0"/>
                    <a:pt x="13" y="8"/>
                    <a:pt x="18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7" name="Freeform 324">
              <a:extLst>
                <a:ext uri="{FF2B5EF4-FFF2-40B4-BE49-F238E27FC236}">
                  <a16:creationId xmlns:a16="http://schemas.microsoft.com/office/drawing/2014/main" id="{E62C9E07-14C5-4A57-A796-A3120CDEC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2363" y="1047751"/>
              <a:ext cx="38100" cy="31750"/>
            </a:xfrm>
            <a:custGeom>
              <a:avLst/>
              <a:gdLst>
                <a:gd name="T0" fmla="*/ 0 w 14"/>
                <a:gd name="T1" fmla="*/ 0 h 12"/>
                <a:gd name="T2" fmla="*/ 14 w 14"/>
                <a:gd name="T3" fmla="*/ 12 h 12"/>
                <a:gd name="T4" fmla="*/ 0 w 1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0"/>
                  </a:moveTo>
                  <a:cubicBezTo>
                    <a:pt x="0" y="0"/>
                    <a:pt x="7" y="2"/>
                    <a:pt x="14" y="12"/>
                  </a:cubicBezTo>
                  <a:cubicBezTo>
                    <a:pt x="5" y="4"/>
                    <a:pt x="6" y="5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8" name="Freeform 325">
              <a:extLst>
                <a:ext uri="{FF2B5EF4-FFF2-40B4-BE49-F238E27FC236}">
                  <a16:creationId xmlns:a16="http://schemas.microsoft.com/office/drawing/2014/main" id="{EC7349DF-26F0-458A-97C5-CC8AB92A7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4375" y="833438"/>
              <a:ext cx="447675" cy="312738"/>
            </a:xfrm>
            <a:custGeom>
              <a:avLst/>
              <a:gdLst>
                <a:gd name="T0" fmla="*/ 170 w 170"/>
                <a:gd name="T1" fmla="*/ 118 h 118"/>
                <a:gd name="T2" fmla="*/ 51 w 170"/>
                <a:gd name="T3" fmla="*/ 42 h 118"/>
                <a:gd name="T4" fmla="*/ 0 w 170"/>
                <a:gd name="T5" fmla="*/ 0 h 118"/>
                <a:gd name="T6" fmla="*/ 170 w 170"/>
                <a:gd name="T7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0" h="118">
                  <a:moveTo>
                    <a:pt x="170" y="118"/>
                  </a:moveTo>
                  <a:cubicBezTo>
                    <a:pt x="169" y="117"/>
                    <a:pt x="113" y="91"/>
                    <a:pt x="51" y="42"/>
                  </a:cubicBezTo>
                  <a:cubicBezTo>
                    <a:pt x="27" y="23"/>
                    <a:pt x="2" y="1"/>
                    <a:pt x="0" y="0"/>
                  </a:cubicBezTo>
                  <a:cubicBezTo>
                    <a:pt x="49" y="40"/>
                    <a:pt x="93" y="74"/>
                    <a:pt x="170" y="11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9" name="Freeform 326">
              <a:extLst>
                <a:ext uri="{FF2B5EF4-FFF2-40B4-BE49-F238E27FC236}">
                  <a16:creationId xmlns:a16="http://schemas.microsoft.com/office/drawing/2014/main" id="{01C65CCD-EEEE-4062-905F-7299348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5" y="666751"/>
              <a:ext cx="47625" cy="106363"/>
            </a:xfrm>
            <a:custGeom>
              <a:avLst/>
              <a:gdLst>
                <a:gd name="T0" fmla="*/ 18 w 18"/>
                <a:gd name="T1" fmla="*/ 40 h 40"/>
                <a:gd name="T2" fmla="*/ 18 w 18"/>
                <a:gd name="T3" fmla="*/ 40 h 40"/>
                <a:gd name="T4" fmla="*/ 18 w 18"/>
                <a:gd name="T5" fmla="*/ 40 h 40"/>
                <a:gd name="T6" fmla="*/ 18 w 18"/>
                <a:gd name="T7" fmla="*/ 40 h 40"/>
                <a:gd name="T8" fmla="*/ 0 w 18"/>
                <a:gd name="T9" fmla="*/ 0 h 40"/>
                <a:gd name="T10" fmla="*/ 18 w 18"/>
                <a:gd name="T11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18" y="40"/>
                  </a:move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7" y="35"/>
                    <a:pt x="0" y="0"/>
                    <a:pt x="0" y="0"/>
                  </a:cubicBezTo>
                  <a:cubicBezTo>
                    <a:pt x="0" y="0"/>
                    <a:pt x="16" y="25"/>
                    <a:pt x="18" y="4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0" name="Freeform 327">
              <a:extLst>
                <a:ext uri="{FF2B5EF4-FFF2-40B4-BE49-F238E27FC236}">
                  <a16:creationId xmlns:a16="http://schemas.microsoft.com/office/drawing/2014/main" id="{258BE1A2-AFA9-48B7-98FF-C5031BA04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796926"/>
              <a:ext cx="131763" cy="20638"/>
            </a:xfrm>
            <a:custGeom>
              <a:avLst/>
              <a:gdLst>
                <a:gd name="T0" fmla="*/ 50 w 50"/>
                <a:gd name="T1" fmla="*/ 0 h 8"/>
                <a:gd name="T2" fmla="*/ 1 w 50"/>
                <a:gd name="T3" fmla="*/ 5 h 8"/>
                <a:gd name="T4" fmla="*/ 0 w 50"/>
                <a:gd name="T5" fmla="*/ 5 h 8"/>
                <a:gd name="T6" fmla="*/ 1 w 50"/>
                <a:gd name="T7" fmla="*/ 5 h 8"/>
                <a:gd name="T8" fmla="*/ 50 w 50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8">
                  <a:moveTo>
                    <a:pt x="50" y="0"/>
                  </a:moveTo>
                  <a:cubicBezTo>
                    <a:pt x="50" y="0"/>
                    <a:pt x="24" y="8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1" y="4"/>
                    <a:pt x="26" y="4"/>
                    <a:pt x="5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1" name="Freeform 328">
              <a:extLst>
                <a:ext uri="{FF2B5EF4-FFF2-40B4-BE49-F238E27FC236}">
                  <a16:creationId xmlns:a16="http://schemas.microsoft.com/office/drawing/2014/main" id="{F7189904-3D93-4564-947F-9E7EB26B7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4988" y="792163"/>
              <a:ext cx="107950" cy="15875"/>
            </a:xfrm>
            <a:custGeom>
              <a:avLst/>
              <a:gdLst>
                <a:gd name="T0" fmla="*/ 1 w 41"/>
                <a:gd name="T1" fmla="*/ 3 h 6"/>
                <a:gd name="T2" fmla="*/ 0 w 41"/>
                <a:gd name="T3" fmla="*/ 3 h 6"/>
                <a:gd name="T4" fmla="*/ 41 w 41"/>
                <a:gd name="T5" fmla="*/ 0 h 6"/>
                <a:gd name="T6" fmla="*/ 1 w 41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6"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5" y="3"/>
                    <a:pt x="21" y="3"/>
                    <a:pt x="41" y="0"/>
                  </a:cubicBezTo>
                  <a:cubicBezTo>
                    <a:pt x="41" y="0"/>
                    <a:pt x="20" y="6"/>
                    <a:pt x="1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2" name="Freeform 329">
              <a:extLst>
                <a:ext uri="{FF2B5EF4-FFF2-40B4-BE49-F238E27FC236}">
                  <a16:creationId xmlns:a16="http://schemas.microsoft.com/office/drawing/2014/main" id="{FCC98158-251E-41FA-908D-31FA6C9CD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0388" y="785813"/>
              <a:ext cx="79375" cy="14288"/>
            </a:xfrm>
            <a:custGeom>
              <a:avLst/>
              <a:gdLst>
                <a:gd name="T0" fmla="*/ 0 w 30"/>
                <a:gd name="T1" fmla="*/ 2 h 5"/>
                <a:gd name="T2" fmla="*/ 0 w 30"/>
                <a:gd name="T3" fmla="*/ 1 h 5"/>
                <a:gd name="T4" fmla="*/ 30 w 30"/>
                <a:gd name="T5" fmla="*/ 0 h 5"/>
                <a:gd name="T6" fmla="*/ 0 w 30"/>
                <a:gd name="T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5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3" y="2"/>
                    <a:pt x="20" y="1"/>
                    <a:pt x="30" y="0"/>
                  </a:cubicBezTo>
                  <a:cubicBezTo>
                    <a:pt x="29" y="0"/>
                    <a:pt x="14" y="5"/>
                    <a:pt x="0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3" name="Freeform 330">
              <a:extLst>
                <a:ext uri="{FF2B5EF4-FFF2-40B4-BE49-F238E27FC236}">
                  <a16:creationId xmlns:a16="http://schemas.microsoft.com/office/drawing/2014/main" id="{E6E43277-BCBB-4F6A-95BD-95C5A6E9A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0863" y="777876"/>
              <a:ext cx="84138" cy="11113"/>
            </a:xfrm>
            <a:custGeom>
              <a:avLst/>
              <a:gdLst>
                <a:gd name="T0" fmla="*/ 10 w 32"/>
                <a:gd name="T1" fmla="*/ 0 h 4"/>
                <a:gd name="T2" fmla="*/ 32 w 32"/>
                <a:gd name="T3" fmla="*/ 2 h 4"/>
                <a:gd name="T4" fmla="*/ 10 w 32"/>
                <a:gd name="T5" fmla="*/ 0 h 4"/>
                <a:gd name="T6" fmla="*/ 10 w 3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">
                  <a:moveTo>
                    <a:pt x="10" y="0"/>
                  </a:moveTo>
                  <a:cubicBezTo>
                    <a:pt x="19" y="1"/>
                    <a:pt x="0" y="0"/>
                    <a:pt x="32" y="2"/>
                  </a:cubicBezTo>
                  <a:cubicBezTo>
                    <a:pt x="32" y="2"/>
                    <a:pt x="20" y="4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4" name="Freeform 331">
              <a:extLst>
                <a:ext uri="{FF2B5EF4-FFF2-40B4-BE49-F238E27FC236}">
                  <a16:creationId xmlns:a16="http://schemas.microsoft.com/office/drawing/2014/main" id="{2EC7B0B9-101D-4F74-ABDB-DE4C65614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138" y="769938"/>
              <a:ext cx="36513" cy="11113"/>
            </a:xfrm>
            <a:custGeom>
              <a:avLst/>
              <a:gdLst>
                <a:gd name="T0" fmla="*/ 0 w 14"/>
                <a:gd name="T1" fmla="*/ 1 h 4"/>
                <a:gd name="T2" fmla="*/ 7 w 14"/>
                <a:gd name="T3" fmla="*/ 1 h 4"/>
                <a:gd name="T4" fmla="*/ 14 w 14"/>
                <a:gd name="T5" fmla="*/ 3 h 4"/>
                <a:gd name="T6" fmla="*/ 7 w 14"/>
                <a:gd name="T7" fmla="*/ 3 h 4"/>
                <a:gd name="T8" fmla="*/ 0 w 14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">
                  <a:moveTo>
                    <a:pt x="0" y="1"/>
                  </a:moveTo>
                  <a:cubicBezTo>
                    <a:pt x="0" y="1"/>
                    <a:pt x="1" y="0"/>
                    <a:pt x="7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3"/>
                    <a:pt x="13" y="4"/>
                    <a:pt x="7" y="3"/>
                  </a:cubicBezTo>
                  <a:cubicBezTo>
                    <a:pt x="1" y="2"/>
                    <a:pt x="0" y="1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5" name="Freeform 332">
              <a:extLst>
                <a:ext uri="{FF2B5EF4-FFF2-40B4-BE49-F238E27FC236}">
                  <a16:creationId xmlns:a16="http://schemas.microsoft.com/office/drawing/2014/main" id="{1B5A9797-DE31-4566-B855-F6CB3CDDF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4838" y="765176"/>
              <a:ext cx="23813" cy="4763"/>
            </a:xfrm>
            <a:custGeom>
              <a:avLst/>
              <a:gdLst>
                <a:gd name="T0" fmla="*/ 0 w 9"/>
                <a:gd name="T1" fmla="*/ 1 h 2"/>
                <a:gd name="T2" fmla="*/ 4 w 9"/>
                <a:gd name="T3" fmla="*/ 1 h 2"/>
                <a:gd name="T4" fmla="*/ 9 w 9"/>
                <a:gd name="T5" fmla="*/ 2 h 2"/>
                <a:gd name="T6" fmla="*/ 4 w 9"/>
                <a:gd name="T7" fmla="*/ 2 h 2"/>
                <a:gd name="T8" fmla="*/ 0 w 9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0" y="1"/>
                  </a:moveTo>
                  <a:cubicBezTo>
                    <a:pt x="0" y="1"/>
                    <a:pt x="1" y="0"/>
                    <a:pt x="4" y="1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9" y="2"/>
                    <a:pt x="8" y="2"/>
                    <a:pt x="4" y="2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6" name="Freeform 333">
              <a:extLst>
                <a:ext uri="{FF2B5EF4-FFF2-40B4-BE49-F238E27FC236}">
                  <a16:creationId xmlns:a16="http://schemas.microsoft.com/office/drawing/2014/main" id="{245AEA00-40BB-461A-A6FA-AA7CD4FF1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5950" y="677863"/>
              <a:ext cx="42863" cy="92075"/>
            </a:xfrm>
            <a:custGeom>
              <a:avLst/>
              <a:gdLst>
                <a:gd name="T0" fmla="*/ 16 w 16"/>
                <a:gd name="T1" fmla="*/ 35 h 35"/>
                <a:gd name="T2" fmla="*/ 0 w 16"/>
                <a:gd name="T3" fmla="*/ 0 h 35"/>
                <a:gd name="T4" fmla="*/ 16 w 16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35">
                  <a:moveTo>
                    <a:pt x="16" y="35"/>
                  </a:moveTo>
                  <a:cubicBezTo>
                    <a:pt x="10" y="20"/>
                    <a:pt x="8" y="16"/>
                    <a:pt x="0" y="0"/>
                  </a:cubicBezTo>
                  <a:cubicBezTo>
                    <a:pt x="0" y="1"/>
                    <a:pt x="10" y="12"/>
                    <a:pt x="16" y="3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7" name="Freeform 334">
              <a:extLst>
                <a:ext uri="{FF2B5EF4-FFF2-40B4-BE49-F238E27FC236}">
                  <a16:creationId xmlns:a16="http://schemas.microsoft.com/office/drawing/2014/main" id="{CEE60B2A-DE34-4991-8E10-E2BCAE9BB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5" y="696913"/>
              <a:ext cx="33338" cy="68263"/>
            </a:xfrm>
            <a:custGeom>
              <a:avLst/>
              <a:gdLst>
                <a:gd name="T0" fmla="*/ 13 w 13"/>
                <a:gd name="T1" fmla="*/ 26 h 26"/>
                <a:gd name="T2" fmla="*/ 0 w 13"/>
                <a:gd name="T3" fmla="*/ 0 h 26"/>
                <a:gd name="T4" fmla="*/ 13 w 13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6">
                  <a:moveTo>
                    <a:pt x="13" y="26"/>
                  </a:moveTo>
                  <a:cubicBezTo>
                    <a:pt x="8" y="17"/>
                    <a:pt x="2" y="4"/>
                    <a:pt x="0" y="0"/>
                  </a:cubicBezTo>
                  <a:cubicBezTo>
                    <a:pt x="0" y="0"/>
                    <a:pt x="7" y="9"/>
                    <a:pt x="13" y="2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8" name="Freeform 335">
              <a:extLst>
                <a:ext uri="{FF2B5EF4-FFF2-40B4-BE49-F238E27FC236}">
                  <a16:creationId xmlns:a16="http://schemas.microsoft.com/office/drawing/2014/main" id="{3C027E4C-FDDB-4484-A4BD-DD701ECEB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5950" y="709613"/>
              <a:ext cx="31750" cy="58738"/>
            </a:xfrm>
            <a:custGeom>
              <a:avLst/>
              <a:gdLst>
                <a:gd name="T0" fmla="*/ 12 w 12"/>
                <a:gd name="T1" fmla="*/ 22 h 22"/>
                <a:gd name="T2" fmla="*/ 0 w 12"/>
                <a:gd name="T3" fmla="*/ 0 h 22"/>
                <a:gd name="T4" fmla="*/ 12 w 12"/>
                <a:gd name="T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2">
                  <a:moveTo>
                    <a:pt x="12" y="22"/>
                  </a:moveTo>
                  <a:cubicBezTo>
                    <a:pt x="4" y="8"/>
                    <a:pt x="7" y="13"/>
                    <a:pt x="0" y="0"/>
                  </a:cubicBezTo>
                  <a:cubicBezTo>
                    <a:pt x="0" y="0"/>
                    <a:pt x="7" y="7"/>
                    <a:pt x="12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9" name="Freeform 336">
              <a:extLst>
                <a:ext uri="{FF2B5EF4-FFF2-40B4-BE49-F238E27FC236}">
                  <a16:creationId xmlns:a16="http://schemas.microsoft.com/office/drawing/2014/main" id="{1A68F2A3-A731-4C40-8225-EC1C85A0E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775" y="725488"/>
              <a:ext cx="30163" cy="39688"/>
            </a:xfrm>
            <a:custGeom>
              <a:avLst/>
              <a:gdLst>
                <a:gd name="T0" fmla="*/ 11 w 11"/>
                <a:gd name="T1" fmla="*/ 15 h 15"/>
                <a:gd name="T2" fmla="*/ 0 w 11"/>
                <a:gd name="T3" fmla="*/ 0 h 15"/>
                <a:gd name="T4" fmla="*/ 11 w 11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5">
                  <a:moveTo>
                    <a:pt x="11" y="15"/>
                  </a:moveTo>
                  <a:cubicBezTo>
                    <a:pt x="3" y="3"/>
                    <a:pt x="9" y="11"/>
                    <a:pt x="0" y="0"/>
                  </a:cubicBezTo>
                  <a:cubicBezTo>
                    <a:pt x="1" y="0"/>
                    <a:pt x="7" y="4"/>
                    <a:pt x="11" y="1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0" name="Freeform 337">
              <a:extLst>
                <a:ext uri="{FF2B5EF4-FFF2-40B4-BE49-F238E27FC236}">
                  <a16:creationId xmlns:a16="http://schemas.microsoft.com/office/drawing/2014/main" id="{6332CBEE-1CF3-447C-8258-5C408656E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775" y="733426"/>
              <a:ext cx="22225" cy="28575"/>
            </a:xfrm>
            <a:custGeom>
              <a:avLst/>
              <a:gdLst>
                <a:gd name="T0" fmla="*/ 0 w 8"/>
                <a:gd name="T1" fmla="*/ 0 h 11"/>
                <a:gd name="T2" fmla="*/ 1 w 8"/>
                <a:gd name="T3" fmla="*/ 1 h 11"/>
                <a:gd name="T4" fmla="*/ 8 w 8"/>
                <a:gd name="T5" fmla="*/ 11 h 11"/>
                <a:gd name="T6" fmla="*/ 0 w 8"/>
                <a:gd name="T7" fmla="*/ 1 h 11"/>
                <a:gd name="T8" fmla="*/ 0 w 8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7" y="6"/>
                    <a:pt x="8" y="11"/>
                    <a:pt x="8" y="11"/>
                  </a:cubicBezTo>
                  <a:cubicBezTo>
                    <a:pt x="8" y="11"/>
                    <a:pt x="3" y="5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1" name="Freeform 338">
              <a:extLst>
                <a:ext uri="{FF2B5EF4-FFF2-40B4-BE49-F238E27FC236}">
                  <a16:creationId xmlns:a16="http://schemas.microsoft.com/office/drawing/2014/main" id="{BA43BBE4-5834-4CC7-8E5A-1AA27B7DD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5950" y="746126"/>
              <a:ext cx="15875" cy="15875"/>
            </a:xfrm>
            <a:custGeom>
              <a:avLst/>
              <a:gdLst>
                <a:gd name="T0" fmla="*/ 3 w 6"/>
                <a:gd name="T1" fmla="*/ 3 h 6"/>
                <a:gd name="T2" fmla="*/ 6 w 6"/>
                <a:gd name="T3" fmla="*/ 6 h 6"/>
                <a:gd name="T4" fmla="*/ 3 w 6"/>
                <a:gd name="T5" fmla="*/ 3 h 6"/>
                <a:gd name="T6" fmla="*/ 0 w 6"/>
                <a:gd name="T7" fmla="*/ 0 h 6"/>
                <a:gd name="T8" fmla="*/ 3 w 6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3"/>
                  </a:moveTo>
                  <a:cubicBezTo>
                    <a:pt x="6" y="5"/>
                    <a:pt x="6" y="6"/>
                    <a:pt x="6" y="6"/>
                  </a:cubicBezTo>
                  <a:cubicBezTo>
                    <a:pt x="6" y="6"/>
                    <a:pt x="5" y="5"/>
                    <a:pt x="3" y="3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0"/>
                    <a:pt x="3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2" name="Freeform 339">
              <a:extLst>
                <a:ext uri="{FF2B5EF4-FFF2-40B4-BE49-F238E27FC236}">
                  <a16:creationId xmlns:a16="http://schemas.microsoft.com/office/drawing/2014/main" id="{37439DC3-5C1E-4374-8FC2-C4D0AEA06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775" y="757238"/>
              <a:ext cx="14288" cy="7938"/>
            </a:xfrm>
            <a:custGeom>
              <a:avLst/>
              <a:gdLst>
                <a:gd name="T0" fmla="*/ 5 w 5"/>
                <a:gd name="T1" fmla="*/ 3 h 3"/>
                <a:gd name="T2" fmla="*/ 3 w 5"/>
                <a:gd name="T3" fmla="*/ 2 h 3"/>
                <a:gd name="T4" fmla="*/ 0 w 5"/>
                <a:gd name="T5" fmla="*/ 0 h 3"/>
                <a:gd name="T6" fmla="*/ 3 w 5"/>
                <a:gd name="T7" fmla="*/ 1 h 3"/>
                <a:gd name="T8" fmla="*/ 5 w 5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cubicBezTo>
                    <a:pt x="5" y="3"/>
                    <a:pt x="5" y="3"/>
                    <a:pt x="3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3" y="1"/>
                  </a:cubicBezTo>
                  <a:cubicBezTo>
                    <a:pt x="5" y="2"/>
                    <a:pt x="5" y="3"/>
                    <a:pt x="5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3" name="Freeform 340">
              <a:extLst>
                <a:ext uri="{FF2B5EF4-FFF2-40B4-BE49-F238E27FC236}">
                  <a16:creationId xmlns:a16="http://schemas.microsoft.com/office/drawing/2014/main" id="{EC049648-21C1-4752-864C-C5366C1E2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5" y="1050926"/>
              <a:ext cx="50800" cy="57150"/>
            </a:xfrm>
            <a:custGeom>
              <a:avLst/>
              <a:gdLst>
                <a:gd name="T0" fmla="*/ 0 w 19"/>
                <a:gd name="T1" fmla="*/ 0 h 22"/>
                <a:gd name="T2" fmla="*/ 18 w 19"/>
                <a:gd name="T3" fmla="*/ 20 h 22"/>
                <a:gd name="T4" fmla="*/ 19 w 19"/>
                <a:gd name="T5" fmla="*/ 22 h 22"/>
                <a:gd name="T6" fmla="*/ 1 w 19"/>
                <a:gd name="T7" fmla="*/ 3 h 22"/>
                <a:gd name="T8" fmla="*/ 0 w 19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2">
                  <a:moveTo>
                    <a:pt x="0" y="0"/>
                  </a:moveTo>
                  <a:cubicBezTo>
                    <a:pt x="0" y="0"/>
                    <a:pt x="11" y="9"/>
                    <a:pt x="18" y="20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7" y="10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4" name="Freeform 341">
              <a:extLst>
                <a:ext uri="{FF2B5EF4-FFF2-40B4-BE49-F238E27FC236}">
                  <a16:creationId xmlns:a16="http://schemas.microsoft.com/office/drawing/2014/main" id="{E0A557C7-A942-495D-908A-D0C1E5C89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2513" y="990601"/>
              <a:ext cx="33338" cy="17463"/>
            </a:xfrm>
            <a:custGeom>
              <a:avLst/>
              <a:gdLst>
                <a:gd name="T0" fmla="*/ 0 w 13"/>
                <a:gd name="T1" fmla="*/ 0 h 7"/>
                <a:gd name="T2" fmla="*/ 12 w 13"/>
                <a:gd name="T3" fmla="*/ 6 h 7"/>
                <a:gd name="T4" fmla="*/ 13 w 13"/>
                <a:gd name="T5" fmla="*/ 7 h 7"/>
                <a:gd name="T6" fmla="*/ 0 w 1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cubicBezTo>
                    <a:pt x="7" y="2"/>
                    <a:pt x="10" y="4"/>
                    <a:pt x="12" y="6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8" y="6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5" name="Freeform 342">
              <a:extLst>
                <a:ext uri="{FF2B5EF4-FFF2-40B4-BE49-F238E27FC236}">
                  <a16:creationId xmlns:a16="http://schemas.microsoft.com/office/drawing/2014/main" id="{1209F57F-96A2-48BC-B74C-FAE2755EF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663" y="952501"/>
              <a:ext cx="53975" cy="30163"/>
            </a:xfrm>
            <a:custGeom>
              <a:avLst/>
              <a:gdLst>
                <a:gd name="T0" fmla="*/ 0 w 20"/>
                <a:gd name="T1" fmla="*/ 0 h 11"/>
                <a:gd name="T2" fmla="*/ 11 w 20"/>
                <a:gd name="T3" fmla="*/ 5 h 11"/>
                <a:gd name="T4" fmla="*/ 20 w 20"/>
                <a:gd name="T5" fmla="*/ 11 h 11"/>
                <a:gd name="T6" fmla="*/ 10 w 20"/>
                <a:gd name="T7" fmla="*/ 7 h 11"/>
                <a:gd name="T8" fmla="*/ 0 w 20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1">
                  <a:moveTo>
                    <a:pt x="0" y="0"/>
                  </a:moveTo>
                  <a:cubicBezTo>
                    <a:pt x="0" y="0"/>
                    <a:pt x="3" y="1"/>
                    <a:pt x="11" y="5"/>
                  </a:cubicBezTo>
                  <a:cubicBezTo>
                    <a:pt x="19" y="10"/>
                    <a:pt x="20" y="11"/>
                    <a:pt x="20" y="11"/>
                  </a:cubicBezTo>
                  <a:cubicBezTo>
                    <a:pt x="20" y="11"/>
                    <a:pt x="17" y="11"/>
                    <a:pt x="10" y="7"/>
                  </a:cubicBezTo>
                  <a:cubicBezTo>
                    <a:pt x="2" y="2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6" name="Freeform 343">
              <a:extLst>
                <a:ext uri="{FF2B5EF4-FFF2-40B4-BE49-F238E27FC236}">
                  <a16:creationId xmlns:a16="http://schemas.microsoft.com/office/drawing/2014/main" id="{2C2BE52C-E0E7-4241-966F-301B3BBE3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0275" y="927101"/>
              <a:ext cx="28575" cy="17463"/>
            </a:xfrm>
            <a:custGeom>
              <a:avLst/>
              <a:gdLst>
                <a:gd name="T0" fmla="*/ 0 w 11"/>
                <a:gd name="T1" fmla="*/ 0 h 7"/>
                <a:gd name="T2" fmla="*/ 7 w 11"/>
                <a:gd name="T3" fmla="*/ 3 h 7"/>
                <a:gd name="T4" fmla="*/ 11 w 11"/>
                <a:gd name="T5" fmla="*/ 7 h 7"/>
                <a:gd name="T6" fmla="*/ 6 w 11"/>
                <a:gd name="T7" fmla="*/ 4 h 7"/>
                <a:gd name="T8" fmla="*/ 0 w 11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">
                  <a:moveTo>
                    <a:pt x="0" y="0"/>
                  </a:moveTo>
                  <a:cubicBezTo>
                    <a:pt x="0" y="0"/>
                    <a:pt x="2" y="0"/>
                    <a:pt x="7" y="3"/>
                  </a:cubicBezTo>
                  <a:cubicBezTo>
                    <a:pt x="11" y="5"/>
                    <a:pt x="11" y="7"/>
                    <a:pt x="11" y="7"/>
                  </a:cubicBezTo>
                  <a:cubicBezTo>
                    <a:pt x="11" y="7"/>
                    <a:pt x="10" y="7"/>
                    <a:pt x="6" y="4"/>
                  </a:cubicBezTo>
                  <a:cubicBezTo>
                    <a:pt x="1" y="2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7" name="Freeform 344">
              <a:extLst>
                <a:ext uri="{FF2B5EF4-FFF2-40B4-BE49-F238E27FC236}">
                  <a16:creationId xmlns:a16="http://schemas.microsoft.com/office/drawing/2014/main" id="{3C42AA2D-2661-49FE-9E43-5A0787A1F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5500" y="873126"/>
              <a:ext cx="85725" cy="46038"/>
            </a:xfrm>
            <a:custGeom>
              <a:avLst/>
              <a:gdLst>
                <a:gd name="T0" fmla="*/ 0 w 33"/>
                <a:gd name="T1" fmla="*/ 0 h 17"/>
                <a:gd name="T2" fmla="*/ 17 w 33"/>
                <a:gd name="T3" fmla="*/ 8 h 17"/>
                <a:gd name="T4" fmla="*/ 33 w 33"/>
                <a:gd name="T5" fmla="*/ 17 h 17"/>
                <a:gd name="T6" fmla="*/ 17 w 33"/>
                <a:gd name="T7" fmla="*/ 9 h 17"/>
                <a:gd name="T8" fmla="*/ 0 w 3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0" y="0"/>
                  </a:moveTo>
                  <a:cubicBezTo>
                    <a:pt x="0" y="0"/>
                    <a:pt x="4" y="1"/>
                    <a:pt x="17" y="8"/>
                  </a:cubicBezTo>
                  <a:cubicBezTo>
                    <a:pt x="31" y="15"/>
                    <a:pt x="33" y="17"/>
                    <a:pt x="33" y="17"/>
                  </a:cubicBezTo>
                  <a:cubicBezTo>
                    <a:pt x="33" y="17"/>
                    <a:pt x="29" y="16"/>
                    <a:pt x="17" y="9"/>
                  </a:cubicBezTo>
                  <a:cubicBezTo>
                    <a:pt x="3" y="2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8" name="Freeform 345">
              <a:extLst>
                <a:ext uri="{FF2B5EF4-FFF2-40B4-BE49-F238E27FC236}">
                  <a16:creationId xmlns:a16="http://schemas.microsoft.com/office/drawing/2014/main" id="{CCC10387-9D69-4E85-8DC4-15B4EDD01C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6888" y="650876"/>
              <a:ext cx="863600" cy="550863"/>
            </a:xfrm>
            <a:custGeom>
              <a:avLst/>
              <a:gdLst>
                <a:gd name="T0" fmla="*/ 81 w 327"/>
                <a:gd name="T1" fmla="*/ 76 h 208"/>
                <a:gd name="T2" fmla="*/ 96 w 327"/>
                <a:gd name="T3" fmla="*/ 92 h 208"/>
                <a:gd name="T4" fmla="*/ 213 w 327"/>
                <a:gd name="T5" fmla="*/ 171 h 208"/>
                <a:gd name="T6" fmla="*/ 266 w 327"/>
                <a:gd name="T7" fmla="*/ 198 h 208"/>
                <a:gd name="T8" fmla="*/ 247 w 327"/>
                <a:gd name="T9" fmla="*/ 114 h 208"/>
                <a:gd name="T10" fmla="*/ 215 w 327"/>
                <a:gd name="T11" fmla="*/ 92 h 208"/>
                <a:gd name="T12" fmla="*/ 154 w 327"/>
                <a:gd name="T13" fmla="*/ 60 h 208"/>
                <a:gd name="T14" fmla="*/ 105 w 327"/>
                <a:gd name="T15" fmla="*/ 56 h 208"/>
                <a:gd name="T16" fmla="*/ 82 w 327"/>
                <a:gd name="T17" fmla="*/ 48 h 208"/>
                <a:gd name="T18" fmla="*/ 41 w 327"/>
                <a:gd name="T19" fmla="*/ 18 h 208"/>
                <a:gd name="T20" fmla="*/ 83 w 327"/>
                <a:gd name="T21" fmla="*/ 50 h 208"/>
                <a:gd name="T22" fmla="*/ 111 w 327"/>
                <a:gd name="T23" fmla="*/ 57 h 208"/>
                <a:gd name="T24" fmla="*/ 117 w 327"/>
                <a:gd name="T25" fmla="*/ 55 h 208"/>
                <a:gd name="T26" fmla="*/ 164 w 327"/>
                <a:gd name="T27" fmla="*/ 73 h 208"/>
                <a:gd name="T28" fmla="*/ 150 w 327"/>
                <a:gd name="T29" fmla="*/ 63 h 208"/>
                <a:gd name="T30" fmla="*/ 146 w 327"/>
                <a:gd name="T31" fmla="*/ 65 h 208"/>
                <a:gd name="T32" fmla="*/ 215 w 327"/>
                <a:gd name="T33" fmla="*/ 95 h 208"/>
                <a:gd name="T34" fmla="*/ 215 w 327"/>
                <a:gd name="T35" fmla="*/ 94 h 208"/>
                <a:gd name="T36" fmla="*/ 220 w 327"/>
                <a:gd name="T37" fmla="*/ 89 h 208"/>
                <a:gd name="T38" fmla="*/ 224 w 327"/>
                <a:gd name="T39" fmla="*/ 87 h 208"/>
                <a:gd name="T40" fmla="*/ 230 w 327"/>
                <a:gd name="T41" fmla="*/ 89 h 208"/>
                <a:gd name="T42" fmla="*/ 221 w 327"/>
                <a:gd name="T43" fmla="*/ 174 h 208"/>
                <a:gd name="T44" fmla="*/ 221 w 327"/>
                <a:gd name="T45" fmla="*/ 179 h 208"/>
                <a:gd name="T46" fmla="*/ 112 w 327"/>
                <a:gd name="T47" fmla="*/ 99 h 208"/>
                <a:gd name="T48" fmla="*/ 114 w 327"/>
                <a:gd name="T49" fmla="*/ 109 h 208"/>
                <a:gd name="T50" fmla="*/ 111 w 327"/>
                <a:gd name="T51" fmla="*/ 100 h 208"/>
                <a:gd name="T52" fmla="*/ 90 w 327"/>
                <a:gd name="T53" fmla="*/ 80 h 208"/>
                <a:gd name="T54" fmla="*/ 82 w 327"/>
                <a:gd name="T55" fmla="*/ 75 h 208"/>
                <a:gd name="T56" fmla="*/ 54 w 327"/>
                <a:gd name="T57" fmla="*/ 47 h 208"/>
                <a:gd name="T58" fmla="*/ 72 w 327"/>
                <a:gd name="T59" fmla="*/ 53 h 208"/>
                <a:gd name="T60" fmla="*/ 92 w 327"/>
                <a:gd name="T61" fmla="*/ 63 h 208"/>
                <a:gd name="T62" fmla="*/ 105 w 327"/>
                <a:gd name="T63" fmla="*/ 59 h 208"/>
                <a:gd name="T64" fmla="*/ 109 w 327"/>
                <a:gd name="T65" fmla="*/ 69 h 208"/>
                <a:gd name="T66" fmla="*/ 119 w 327"/>
                <a:gd name="T67" fmla="*/ 77 h 208"/>
                <a:gd name="T68" fmla="*/ 130 w 327"/>
                <a:gd name="T69" fmla="*/ 75 h 208"/>
                <a:gd name="T70" fmla="*/ 144 w 327"/>
                <a:gd name="T71" fmla="*/ 81 h 208"/>
                <a:gd name="T72" fmla="*/ 155 w 327"/>
                <a:gd name="T73" fmla="*/ 79 h 208"/>
                <a:gd name="T74" fmla="*/ 165 w 327"/>
                <a:gd name="T75" fmla="*/ 84 h 208"/>
                <a:gd name="T76" fmla="*/ 182 w 327"/>
                <a:gd name="T77" fmla="*/ 83 h 208"/>
                <a:gd name="T78" fmla="*/ 196 w 327"/>
                <a:gd name="T79" fmla="*/ 89 h 208"/>
                <a:gd name="T80" fmla="*/ 198 w 327"/>
                <a:gd name="T81" fmla="*/ 106 h 208"/>
                <a:gd name="T82" fmla="*/ 206 w 327"/>
                <a:gd name="T83" fmla="*/ 110 h 208"/>
                <a:gd name="T84" fmla="*/ 210 w 327"/>
                <a:gd name="T85" fmla="*/ 123 h 208"/>
                <a:gd name="T86" fmla="*/ 217 w 327"/>
                <a:gd name="T87" fmla="*/ 127 h 208"/>
                <a:gd name="T88" fmla="*/ 233 w 327"/>
                <a:gd name="T89" fmla="*/ 128 h 208"/>
                <a:gd name="T90" fmla="*/ 239 w 327"/>
                <a:gd name="T91" fmla="*/ 135 h 208"/>
                <a:gd name="T92" fmla="*/ 251 w 327"/>
                <a:gd name="T93" fmla="*/ 136 h 208"/>
                <a:gd name="T94" fmla="*/ 285 w 327"/>
                <a:gd name="T95" fmla="*/ 145 h 208"/>
                <a:gd name="T96" fmla="*/ 316 w 327"/>
                <a:gd name="T97" fmla="*/ 200 h 208"/>
                <a:gd name="T98" fmla="*/ 310 w 327"/>
                <a:gd name="T99" fmla="*/ 190 h 208"/>
                <a:gd name="T100" fmla="*/ 312 w 327"/>
                <a:gd name="T101" fmla="*/ 187 h 208"/>
                <a:gd name="T102" fmla="*/ 297 w 327"/>
                <a:gd name="T103" fmla="*/ 183 h 208"/>
                <a:gd name="T104" fmla="*/ 298 w 327"/>
                <a:gd name="T105" fmla="*/ 201 h 208"/>
                <a:gd name="T106" fmla="*/ 279 w 327"/>
                <a:gd name="T107" fmla="*/ 186 h 208"/>
                <a:gd name="T108" fmla="*/ 283 w 327"/>
                <a:gd name="T109" fmla="*/ 154 h 208"/>
                <a:gd name="T110" fmla="*/ 3 w 327"/>
                <a:gd name="T111" fmla="*/ 59 h 208"/>
                <a:gd name="T112" fmla="*/ 51 w 327"/>
                <a:gd name="T113" fmla="*/ 4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7" h="208">
                  <a:moveTo>
                    <a:pt x="0" y="59"/>
                  </a:moveTo>
                  <a:cubicBezTo>
                    <a:pt x="3" y="60"/>
                    <a:pt x="3" y="60"/>
                    <a:pt x="5" y="61"/>
                  </a:cubicBezTo>
                  <a:cubicBezTo>
                    <a:pt x="21" y="65"/>
                    <a:pt x="42" y="65"/>
                    <a:pt x="62" y="57"/>
                  </a:cubicBezTo>
                  <a:cubicBezTo>
                    <a:pt x="65" y="60"/>
                    <a:pt x="68" y="62"/>
                    <a:pt x="71" y="64"/>
                  </a:cubicBezTo>
                  <a:cubicBezTo>
                    <a:pt x="70" y="67"/>
                    <a:pt x="69" y="69"/>
                    <a:pt x="77" y="68"/>
                  </a:cubicBezTo>
                  <a:cubicBezTo>
                    <a:pt x="78" y="69"/>
                    <a:pt x="80" y="71"/>
                    <a:pt x="81" y="72"/>
                  </a:cubicBezTo>
                  <a:cubicBezTo>
                    <a:pt x="80" y="74"/>
                    <a:pt x="78" y="75"/>
                    <a:pt x="81" y="76"/>
                  </a:cubicBezTo>
                  <a:cubicBezTo>
                    <a:pt x="84" y="77"/>
                    <a:pt x="86" y="77"/>
                    <a:pt x="87" y="77"/>
                  </a:cubicBezTo>
                  <a:cubicBezTo>
                    <a:pt x="88" y="77"/>
                    <a:pt x="89" y="78"/>
                    <a:pt x="90" y="79"/>
                  </a:cubicBezTo>
                  <a:cubicBezTo>
                    <a:pt x="89" y="80"/>
                    <a:pt x="88" y="81"/>
                    <a:pt x="87" y="81"/>
                  </a:cubicBezTo>
                  <a:cubicBezTo>
                    <a:pt x="83" y="83"/>
                    <a:pt x="91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7" y="85"/>
                    <a:pt x="98" y="87"/>
                    <a:pt x="100" y="89"/>
                  </a:cubicBezTo>
                  <a:cubicBezTo>
                    <a:pt x="100" y="88"/>
                    <a:pt x="96" y="91"/>
                    <a:pt x="96" y="92"/>
                  </a:cubicBezTo>
                  <a:cubicBezTo>
                    <a:pt x="98" y="94"/>
                    <a:pt x="103" y="94"/>
                    <a:pt x="106" y="94"/>
                  </a:cubicBezTo>
                  <a:cubicBezTo>
                    <a:pt x="107" y="95"/>
                    <a:pt x="109" y="97"/>
                    <a:pt x="111" y="98"/>
                  </a:cubicBezTo>
                  <a:cubicBezTo>
                    <a:pt x="110" y="98"/>
                    <a:pt x="109" y="99"/>
                    <a:pt x="109" y="99"/>
                  </a:cubicBezTo>
                  <a:cubicBezTo>
                    <a:pt x="115" y="107"/>
                    <a:pt x="111" y="116"/>
                    <a:pt x="122" y="119"/>
                  </a:cubicBezTo>
                  <a:cubicBezTo>
                    <a:pt x="126" y="120"/>
                    <a:pt x="129" y="120"/>
                    <a:pt x="132" y="120"/>
                  </a:cubicBezTo>
                  <a:cubicBezTo>
                    <a:pt x="135" y="121"/>
                    <a:pt x="137" y="122"/>
                    <a:pt x="139" y="122"/>
                  </a:cubicBezTo>
                  <a:cubicBezTo>
                    <a:pt x="173" y="148"/>
                    <a:pt x="206" y="167"/>
                    <a:pt x="213" y="171"/>
                  </a:cubicBezTo>
                  <a:cubicBezTo>
                    <a:pt x="214" y="171"/>
                    <a:pt x="217" y="173"/>
                    <a:pt x="218" y="173"/>
                  </a:cubicBezTo>
                  <a:cubicBezTo>
                    <a:pt x="215" y="173"/>
                    <a:pt x="212" y="173"/>
                    <a:pt x="210" y="176"/>
                  </a:cubicBezTo>
                  <a:cubicBezTo>
                    <a:pt x="209" y="178"/>
                    <a:pt x="208" y="184"/>
                    <a:pt x="208" y="184"/>
                  </a:cubicBezTo>
                  <a:cubicBezTo>
                    <a:pt x="213" y="186"/>
                    <a:pt x="216" y="182"/>
                    <a:pt x="220" y="181"/>
                  </a:cubicBezTo>
                  <a:cubicBezTo>
                    <a:pt x="222" y="180"/>
                    <a:pt x="227" y="179"/>
                    <a:pt x="229" y="179"/>
                  </a:cubicBezTo>
                  <a:cubicBezTo>
                    <a:pt x="238" y="184"/>
                    <a:pt x="248" y="188"/>
                    <a:pt x="259" y="193"/>
                  </a:cubicBezTo>
                  <a:cubicBezTo>
                    <a:pt x="261" y="196"/>
                    <a:pt x="263" y="197"/>
                    <a:pt x="266" y="198"/>
                  </a:cubicBezTo>
                  <a:cubicBezTo>
                    <a:pt x="278" y="200"/>
                    <a:pt x="278" y="201"/>
                    <a:pt x="281" y="201"/>
                  </a:cubicBezTo>
                  <a:cubicBezTo>
                    <a:pt x="286" y="203"/>
                    <a:pt x="290" y="205"/>
                    <a:pt x="296" y="206"/>
                  </a:cubicBezTo>
                  <a:cubicBezTo>
                    <a:pt x="311" y="208"/>
                    <a:pt x="317" y="206"/>
                    <a:pt x="318" y="206"/>
                  </a:cubicBezTo>
                  <a:cubicBezTo>
                    <a:pt x="320" y="205"/>
                    <a:pt x="322" y="204"/>
                    <a:pt x="320" y="202"/>
                  </a:cubicBezTo>
                  <a:cubicBezTo>
                    <a:pt x="321" y="202"/>
                    <a:pt x="323" y="203"/>
                    <a:pt x="325" y="202"/>
                  </a:cubicBezTo>
                  <a:cubicBezTo>
                    <a:pt x="327" y="201"/>
                    <a:pt x="327" y="198"/>
                    <a:pt x="326" y="196"/>
                  </a:cubicBezTo>
                  <a:cubicBezTo>
                    <a:pt x="322" y="181"/>
                    <a:pt x="293" y="143"/>
                    <a:pt x="247" y="114"/>
                  </a:cubicBezTo>
                  <a:cubicBezTo>
                    <a:pt x="244" y="106"/>
                    <a:pt x="235" y="89"/>
                    <a:pt x="231" y="85"/>
                  </a:cubicBezTo>
                  <a:cubicBezTo>
                    <a:pt x="232" y="86"/>
                    <a:pt x="230" y="87"/>
                    <a:pt x="228" y="85"/>
                  </a:cubicBezTo>
                  <a:cubicBezTo>
                    <a:pt x="229" y="85"/>
                    <a:pt x="228" y="89"/>
                    <a:pt x="223" y="85"/>
                  </a:cubicBezTo>
                  <a:cubicBezTo>
                    <a:pt x="223" y="86"/>
                    <a:pt x="222" y="90"/>
                    <a:pt x="219" y="88"/>
                  </a:cubicBezTo>
                  <a:cubicBezTo>
                    <a:pt x="219" y="88"/>
                    <a:pt x="218" y="90"/>
                    <a:pt x="218" y="90"/>
                  </a:cubicBezTo>
                  <a:cubicBezTo>
                    <a:pt x="218" y="91"/>
                    <a:pt x="217" y="91"/>
                    <a:pt x="216" y="90"/>
                  </a:cubicBezTo>
                  <a:cubicBezTo>
                    <a:pt x="216" y="91"/>
                    <a:pt x="216" y="92"/>
                    <a:pt x="215" y="92"/>
                  </a:cubicBezTo>
                  <a:cubicBezTo>
                    <a:pt x="215" y="93"/>
                    <a:pt x="214" y="92"/>
                    <a:pt x="214" y="92"/>
                  </a:cubicBezTo>
                  <a:cubicBezTo>
                    <a:pt x="214" y="92"/>
                    <a:pt x="213" y="93"/>
                    <a:pt x="213" y="93"/>
                  </a:cubicBezTo>
                  <a:cubicBezTo>
                    <a:pt x="213" y="93"/>
                    <a:pt x="211" y="92"/>
                    <a:pt x="210" y="93"/>
                  </a:cubicBezTo>
                  <a:cubicBezTo>
                    <a:pt x="198" y="87"/>
                    <a:pt x="185" y="82"/>
                    <a:pt x="172" y="76"/>
                  </a:cubicBezTo>
                  <a:cubicBezTo>
                    <a:pt x="169" y="71"/>
                    <a:pt x="166" y="65"/>
                    <a:pt x="161" y="60"/>
                  </a:cubicBezTo>
                  <a:cubicBezTo>
                    <a:pt x="160" y="59"/>
                    <a:pt x="158" y="57"/>
                    <a:pt x="156" y="58"/>
                  </a:cubicBezTo>
                  <a:cubicBezTo>
                    <a:pt x="155" y="59"/>
                    <a:pt x="155" y="60"/>
                    <a:pt x="154" y="60"/>
                  </a:cubicBezTo>
                  <a:cubicBezTo>
                    <a:pt x="151" y="64"/>
                    <a:pt x="141" y="54"/>
                    <a:pt x="140" y="65"/>
                  </a:cubicBezTo>
                  <a:cubicBezTo>
                    <a:pt x="139" y="65"/>
                    <a:pt x="136" y="64"/>
                    <a:pt x="125" y="61"/>
                  </a:cubicBezTo>
                  <a:cubicBezTo>
                    <a:pt x="125" y="61"/>
                    <a:pt x="122" y="55"/>
                    <a:pt x="116" y="53"/>
                  </a:cubicBezTo>
                  <a:cubicBezTo>
                    <a:pt x="113" y="52"/>
                    <a:pt x="116" y="57"/>
                    <a:pt x="116" y="59"/>
                  </a:cubicBezTo>
                  <a:cubicBezTo>
                    <a:pt x="115" y="58"/>
                    <a:pt x="113" y="58"/>
                    <a:pt x="112" y="58"/>
                  </a:cubicBezTo>
                  <a:cubicBezTo>
                    <a:pt x="111" y="55"/>
                    <a:pt x="107" y="50"/>
                    <a:pt x="105" y="52"/>
                  </a:cubicBezTo>
                  <a:cubicBezTo>
                    <a:pt x="104" y="53"/>
                    <a:pt x="105" y="55"/>
                    <a:pt x="105" y="56"/>
                  </a:cubicBezTo>
                  <a:cubicBezTo>
                    <a:pt x="103" y="56"/>
                    <a:pt x="101" y="55"/>
                    <a:pt x="99" y="55"/>
                  </a:cubicBezTo>
                  <a:cubicBezTo>
                    <a:pt x="98" y="53"/>
                    <a:pt x="97" y="52"/>
                    <a:pt x="95" y="52"/>
                  </a:cubicBezTo>
                  <a:cubicBezTo>
                    <a:pt x="94" y="51"/>
                    <a:pt x="94" y="50"/>
                    <a:pt x="93" y="52"/>
                  </a:cubicBezTo>
                  <a:cubicBezTo>
                    <a:pt x="93" y="52"/>
                    <a:pt x="93" y="53"/>
                    <a:pt x="93" y="54"/>
                  </a:cubicBezTo>
                  <a:cubicBezTo>
                    <a:pt x="92" y="54"/>
                    <a:pt x="91" y="53"/>
                    <a:pt x="90" y="53"/>
                  </a:cubicBezTo>
                  <a:cubicBezTo>
                    <a:pt x="86" y="53"/>
                    <a:pt x="88" y="53"/>
                    <a:pt x="86" y="51"/>
                  </a:cubicBezTo>
                  <a:cubicBezTo>
                    <a:pt x="85" y="50"/>
                    <a:pt x="83" y="48"/>
                    <a:pt x="82" y="48"/>
                  </a:cubicBezTo>
                  <a:cubicBezTo>
                    <a:pt x="81" y="48"/>
                    <a:pt x="81" y="51"/>
                    <a:pt x="81" y="52"/>
                  </a:cubicBezTo>
                  <a:cubicBezTo>
                    <a:pt x="71" y="50"/>
                    <a:pt x="68" y="49"/>
                    <a:pt x="67" y="48"/>
                  </a:cubicBezTo>
                  <a:cubicBezTo>
                    <a:pt x="65" y="28"/>
                    <a:pt x="53" y="7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2" y="1"/>
                    <a:pt x="42" y="3"/>
                    <a:pt x="42" y="5"/>
                  </a:cubicBezTo>
                  <a:cubicBezTo>
                    <a:pt x="42" y="9"/>
                    <a:pt x="43" y="6"/>
                    <a:pt x="41" y="18"/>
                  </a:cubicBezTo>
                  <a:cubicBezTo>
                    <a:pt x="41" y="25"/>
                    <a:pt x="42" y="35"/>
                    <a:pt x="43" y="41"/>
                  </a:cubicBezTo>
                  <a:cubicBezTo>
                    <a:pt x="32" y="41"/>
                    <a:pt x="24" y="52"/>
                    <a:pt x="14" y="55"/>
                  </a:cubicBezTo>
                  <a:cubicBezTo>
                    <a:pt x="9" y="56"/>
                    <a:pt x="0" y="59"/>
                    <a:pt x="0" y="59"/>
                  </a:cubicBezTo>
                  <a:close/>
                  <a:moveTo>
                    <a:pt x="86" y="53"/>
                  </a:moveTo>
                  <a:cubicBezTo>
                    <a:pt x="85" y="52"/>
                    <a:pt x="84" y="52"/>
                    <a:pt x="82" y="52"/>
                  </a:cubicBezTo>
                  <a:cubicBezTo>
                    <a:pt x="83" y="51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5" y="52"/>
                    <a:pt x="86" y="53"/>
                  </a:cubicBezTo>
                  <a:close/>
                  <a:moveTo>
                    <a:pt x="97" y="55"/>
                  </a:moveTo>
                  <a:cubicBezTo>
                    <a:pt x="96" y="54"/>
                    <a:pt x="95" y="54"/>
                    <a:pt x="94" y="54"/>
                  </a:cubicBezTo>
                  <a:cubicBezTo>
                    <a:pt x="94" y="54"/>
                    <a:pt x="94" y="53"/>
                    <a:pt x="94" y="52"/>
                  </a:cubicBezTo>
                  <a:cubicBezTo>
                    <a:pt x="94" y="52"/>
                    <a:pt x="96" y="53"/>
                    <a:pt x="97" y="55"/>
                  </a:cubicBezTo>
                  <a:close/>
                  <a:moveTo>
                    <a:pt x="111" y="57"/>
                  </a:moveTo>
                  <a:cubicBezTo>
                    <a:pt x="110" y="57"/>
                    <a:pt x="107" y="57"/>
                    <a:pt x="106" y="56"/>
                  </a:cubicBezTo>
                  <a:cubicBezTo>
                    <a:pt x="106" y="54"/>
                    <a:pt x="106" y="53"/>
                    <a:pt x="106" y="53"/>
                  </a:cubicBezTo>
                  <a:cubicBezTo>
                    <a:pt x="107" y="54"/>
                    <a:pt x="109" y="55"/>
                    <a:pt x="111" y="57"/>
                  </a:cubicBezTo>
                  <a:close/>
                  <a:moveTo>
                    <a:pt x="123" y="61"/>
                  </a:moveTo>
                  <a:cubicBezTo>
                    <a:pt x="121" y="60"/>
                    <a:pt x="119" y="59"/>
                    <a:pt x="117" y="59"/>
                  </a:cubicBezTo>
                  <a:cubicBezTo>
                    <a:pt x="117" y="57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8" y="56"/>
                    <a:pt x="120" y="57"/>
                    <a:pt x="123" y="61"/>
                  </a:cubicBezTo>
                  <a:close/>
                  <a:moveTo>
                    <a:pt x="171" y="76"/>
                  </a:moveTo>
                  <a:cubicBezTo>
                    <a:pt x="170" y="75"/>
                    <a:pt x="169" y="75"/>
                    <a:pt x="168" y="75"/>
                  </a:cubicBezTo>
                  <a:cubicBezTo>
                    <a:pt x="163" y="66"/>
                    <a:pt x="159" y="62"/>
                    <a:pt x="159" y="62"/>
                  </a:cubicBezTo>
                  <a:cubicBezTo>
                    <a:pt x="169" y="79"/>
                    <a:pt x="166" y="73"/>
                    <a:pt x="167" y="74"/>
                  </a:cubicBezTo>
                  <a:cubicBezTo>
                    <a:pt x="166" y="74"/>
                    <a:pt x="165" y="74"/>
                    <a:pt x="164" y="73"/>
                  </a:cubicBezTo>
                  <a:cubicBezTo>
                    <a:pt x="160" y="66"/>
                    <a:pt x="156" y="63"/>
                    <a:pt x="156" y="63"/>
                  </a:cubicBezTo>
                  <a:cubicBezTo>
                    <a:pt x="162" y="72"/>
                    <a:pt x="162" y="73"/>
                    <a:pt x="162" y="73"/>
                  </a:cubicBezTo>
                  <a:cubicBezTo>
                    <a:pt x="161" y="72"/>
                    <a:pt x="161" y="72"/>
                    <a:pt x="160" y="72"/>
                  </a:cubicBezTo>
                  <a:cubicBezTo>
                    <a:pt x="157" y="66"/>
                    <a:pt x="154" y="64"/>
                    <a:pt x="154" y="64"/>
                  </a:cubicBezTo>
                  <a:cubicBezTo>
                    <a:pt x="154" y="64"/>
                    <a:pt x="154" y="66"/>
                    <a:pt x="158" y="71"/>
                  </a:cubicBezTo>
                  <a:cubicBezTo>
                    <a:pt x="157" y="71"/>
                    <a:pt x="156" y="70"/>
                    <a:pt x="155" y="70"/>
                  </a:cubicBezTo>
                  <a:cubicBezTo>
                    <a:pt x="151" y="63"/>
                    <a:pt x="150" y="64"/>
                    <a:pt x="150" y="63"/>
                  </a:cubicBezTo>
                  <a:cubicBezTo>
                    <a:pt x="150" y="63"/>
                    <a:pt x="150" y="65"/>
                    <a:pt x="153" y="70"/>
                  </a:cubicBezTo>
                  <a:cubicBezTo>
                    <a:pt x="153" y="69"/>
                    <a:pt x="152" y="69"/>
                    <a:pt x="151" y="69"/>
                  </a:cubicBezTo>
                  <a:cubicBezTo>
                    <a:pt x="149" y="64"/>
                    <a:pt x="148" y="63"/>
                    <a:pt x="148" y="63"/>
                  </a:cubicBezTo>
                  <a:cubicBezTo>
                    <a:pt x="148" y="63"/>
                    <a:pt x="148" y="64"/>
                    <a:pt x="148" y="65"/>
                  </a:cubicBezTo>
                  <a:cubicBezTo>
                    <a:pt x="148" y="66"/>
                    <a:pt x="149" y="67"/>
                    <a:pt x="150" y="68"/>
                  </a:cubicBezTo>
                  <a:cubicBezTo>
                    <a:pt x="149" y="68"/>
                    <a:pt x="148" y="68"/>
                    <a:pt x="147" y="67"/>
                  </a:cubicBezTo>
                  <a:cubicBezTo>
                    <a:pt x="147" y="67"/>
                    <a:pt x="146" y="66"/>
                    <a:pt x="146" y="65"/>
                  </a:cubicBezTo>
                  <a:cubicBezTo>
                    <a:pt x="146" y="65"/>
                    <a:pt x="145" y="64"/>
                    <a:pt x="145" y="63"/>
                  </a:cubicBezTo>
                  <a:cubicBezTo>
                    <a:pt x="145" y="63"/>
                    <a:pt x="144" y="64"/>
                    <a:pt x="146" y="67"/>
                  </a:cubicBezTo>
                  <a:cubicBezTo>
                    <a:pt x="144" y="66"/>
                    <a:pt x="142" y="66"/>
                    <a:pt x="141" y="65"/>
                  </a:cubicBezTo>
                  <a:cubicBezTo>
                    <a:pt x="142" y="57"/>
                    <a:pt x="148" y="63"/>
                    <a:pt x="153" y="63"/>
                  </a:cubicBezTo>
                  <a:cubicBezTo>
                    <a:pt x="158" y="62"/>
                    <a:pt x="155" y="55"/>
                    <a:pt x="163" y="64"/>
                  </a:cubicBezTo>
                  <a:cubicBezTo>
                    <a:pt x="165" y="68"/>
                    <a:pt x="168" y="72"/>
                    <a:pt x="171" y="76"/>
                  </a:cubicBezTo>
                  <a:close/>
                  <a:moveTo>
                    <a:pt x="215" y="95"/>
                  </a:moveTo>
                  <a:cubicBezTo>
                    <a:pt x="213" y="95"/>
                    <a:pt x="212" y="94"/>
                    <a:pt x="211" y="94"/>
                  </a:cubicBezTo>
                  <a:cubicBezTo>
                    <a:pt x="215" y="93"/>
                    <a:pt x="213" y="92"/>
                    <a:pt x="215" y="95"/>
                  </a:cubicBezTo>
                  <a:close/>
                  <a:moveTo>
                    <a:pt x="217" y="93"/>
                  </a:moveTo>
                  <a:cubicBezTo>
                    <a:pt x="217" y="93"/>
                    <a:pt x="217" y="93"/>
                    <a:pt x="217" y="93"/>
                  </a:cubicBezTo>
                  <a:cubicBezTo>
                    <a:pt x="218" y="94"/>
                    <a:pt x="219" y="96"/>
                    <a:pt x="220" y="98"/>
                  </a:cubicBezTo>
                  <a:cubicBezTo>
                    <a:pt x="219" y="98"/>
                    <a:pt x="217" y="97"/>
                    <a:pt x="217" y="96"/>
                  </a:cubicBezTo>
                  <a:cubicBezTo>
                    <a:pt x="216" y="95"/>
                    <a:pt x="216" y="94"/>
                    <a:pt x="215" y="94"/>
                  </a:cubicBezTo>
                  <a:cubicBezTo>
                    <a:pt x="215" y="94"/>
                    <a:pt x="215" y="94"/>
                    <a:pt x="215" y="94"/>
                  </a:cubicBezTo>
                  <a:cubicBezTo>
                    <a:pt x="216" y="94"/>
                    <a:pt x="217" y="94"/>
                    <a:pt x="217" y="93"/>
                  </a:cubicBezTo>
                  <a:close/>
                  <a:moveTo>
                    <a:pt x="220" y="90"/>
                  </a:moveTo>
                  <a:cubicBezTo>
                    <a:pt x="220" y="90"/>
                    <a:pt x="224" y="99"/>
                    <a:pt x="225" y="101"/>
                  </a:cubicBezTo>
                  <a:cubicBezTo>
                    <a:pt x="224" y="100"/>
                    <a:pt x="223" y="100"/>
                    <a:pt x="223" y="99"/>
                  </a:cubicBezTo>
                  <a:cubicBezTo>
                    <a:pt x="221" y="96"/>
                    <a:pt x="219" y="94"/>
                    <a:pt x="218" y="92"/>
                  </a:cubicBezTo>
                  <a:cubicBezTo>
                    <a:pt x="219" y="92"/>
                    <a:pt x="220" y="91"/>
                    <a:pt x="220" y="89"/>
                  </a:cubicBezTo>
                  <a:lnTo>
                    <a:pt x="220" y="90"/>
                  </a:lnTo>
                  <a:close/>
                  <a:moveTo>
                    <a:pt x="233" y="105"/>
                  </a:moveTo>
                  <a:cubicBezTo>
                    <a:pt x="231" y="104"/>
                    <a:pt x="229" y="103"/>
                    <a:pt x="227" y="102"/>
                  </a:cubicBezTo>
                  <a:cubicBezTo>
                    <a:pt x="226" y="98"/>
                    <a:pt x="223" y="93"/>
                    <a:pt x="221" y="89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22" y="90"/>
                    <a:pt x="224" y="89"/>
                    <a:pt x="224" y="87"/>
                  </a:cubicBezTo>
                  <a:cubicBezTo>
                    <a:pt x="227" y="92"/>
                    <a:pt x="231" y="100"/>
                    <a:pt x="233" y="105"/>
                  </a:cubicBezTo>
                  <a:close/>
                  <a:moveTo>
                    <a:pt x="230" y="89"/>
                  </a:moveTo>
                  <a:cubicBezTo>
                    <a:pt x="234" y="96"/>
                    <a:pt x="236" y="101"/>
                    <a:pt x="240" y="109"/>
                  </a:cubicBezTo>
                  <a:cubicBezTo>
                    <a:pt x="238" y="108"/>
                    <a:pt x="237" y="107"/>
                    <a:pt x="235" y="106"/>
                  </a:cubicBezTo>
                  <a:cubicBezTo>
                    <a:pt x="233" y="101"/>
                    <a:pt x="229" y="93"/>
                    <a:pt x="225" y="88"/>
                  </a:cubicBezTo>
                  <a:cubicBezTo>
                    <a:pt x="227" y="88"/>
                    <a:pt x="228" y="89"/>
                    <a:pt x="229" y="88"/>
                  </a:cubicBezTo>
                  <a:cubicBezTo>
                    <a:pt x="229" y="88"/>
                    <a:pt x="229" y="88"/>
                    <a:pt x="230" y="89"/>
                  </a:cubicBezTo>
                  <a:cubicBezTo>
                    <a:pt x="230" y="89"/>
                    <a:pt x="230" y="89"/>
                    <a:pt x="230" y="89"/>
                  </a:cubicBezTo>
                  <a:close/>
                  <a:moveTo>
                    <a:pt x="245" y="112"/>
                  </a:moveTo>
                  <a:cubicBezTo>
                    <a:pt x="244" y="112"/>
                    <a:pt x="243" y="111"/>
                    <a:pt x="242" y="110"/>
                  </a:cubicBezTo>
                  <a:cubicBezTo>
                    <a:pt x="239" y="102"/>
                    <a:pt x="236" y="96"/>
                    <a:pt x="232" y="90"/>
                  </a:cubicBezTo>
                  <a:cubicBezTo>
                    <a:pt x="232" y="90"/>
                    <a:pt x="233" y="90"/>
                    <a:pt x="233" y="90"/>
                  </a:cubicBezTo>
                  <a:cubicBezTo>
                    <a:pt x="236" y="95"/>
                    <a:pt x="242" y="107"/>
                    <a:pt x="245" y="112"/>
                  </a:cubicBezTo>
                  <a:close/>
                  <a:moveTo>
                    <a:pt x="221" y="174"/>
                  </a:moveTo>
                  <a:cubicBezTo>
                    <a:pt x="220" y="175"/>
                    <a:pt x="216" y="175"/>
                    <a:pt x="212" y="179"/>
                  </a:cubicBezTo>
                  <a:cubicBezTo>
                    <a:pt x="213" y="179"/>
                    <a:pt x="217" y="176"/>
                    <a:pt x="222" y="175"/>
                  </a:cubicBezTo>
                  <a:cubicBezTo>
                    <a:pt x="224" y="176"/>
                    <a:pt x="224" y="176"/>
                    <a:pt x="224" y="176"/>
                  </a:cubicBezTo>
                  <a:cubicBezTo>
                    <a:pt x="218" y="177"/>
                    <a:pt x="215" y="181"/>
                    <a:pt x="215" y="181"/>
                  </a:cubicBezTo>
                  <a:cubicBezTo>
                    <a:pt x="217" y="180"/>
                    <a:pt x="220" y="178"/>
                    <a:pt x="225" y="177"/>
                  </a:cubicBezTo>
                  <a:cubicBezTo>
                    <a:pt x="226" y="177"/>
                    <a:pt x="227" y="178"/>
                    <a:pt x="228" y="178"/>
                  </a:cubicBezTo>
                  <a:cubicBezTo>
                    <a:pt x="225" y="178"/>
                    <a:pt x="222" y="179"/>
                    <a:pt x="221" y="179"/>
                  </a:cubicBezTo>
                  <a:cubicBezTo>
                    <a:pt x="217" y="180"/>
                    <a:pt x="214" y="183"/>
                    <a:pt x="210" y="183"/>
                  </a:cubicBezTo>
                  <a:cubicBezTo>
                    <a:pt x="210" y="183"/>
                    <a:pt x="210" y="183"/>
                    <a:pt x="210" y="183"/>
                  </a:cubicBezTo>
                  <a:cubicBezTo>
                    <a:pt x="210" y="183"/>
                    <a:pt x="210" y="183"/>
                    <a:pt x="210" y="183"/>
                  </a:cubicBezTo>
                  <a:cubicBezTo>
                    <a:pt x="210" y="182"/>
                    <a:pt x="210" y="180"/>
                    <a:pt x="211" y="178"/>
                  </a:cubicBezTo>
                  <a:cubicBezTo>
                    <a:pt x="213" y="175"/>
                    <a:pt x="218" y="173"/>
                    <a:pt x="221" y="174"/>
                  </a:cubicBezTo>
                  <a:close/>
                  <a:moveTo>
                    <a:pt x="111" y="100"/>
                  </a:moveTo>
                  <a:cubicBezTo>
                    <a:pt x="112" y="99"/>
                    <a:pt x="111" y="99"/>
                    <a:pt x="112" y="99"/>
                  </a:cubicBezTo>
                  <a:cubicBezTo>
                    <a:pt x="121" y="108"/>
                    <a:pt x="127" y="113"/>
                    <a:pt x="137" y="120"/>
                  </a:cubicBezTo>
                  <a:cubicBezTo>
                    <a:pt x="126" y="117"/>
                    <a:pt x="120" y="118"/>
                    <a:pt x="117" y="114"/>
                  </a:cubicBezTo>
                  <a:cubicBezTo>
                    <a:pt x="123" y="115"/>
                    <a:pt x="128" y="116"/>
                    <a:pt x="130" y="116"/>
                  </a:cubicBezTo>
                  <a:cubicBezTo>
                    <a:pt x="125" y="115"/>
                    <a:pt x="126" y="115"/>
                    <a:pt x="116" y="113"/>
                  </a:cubicBezTo>
                  <a:cubicBezTo>
                    <a:pt x="116" y="112"/>
                    <a:pt x="115" y="111"/>
                    <a:pt x="115" y="110"/>
                  </a:cubicBezTo>
                  <a:cubicBezTo>
                    <a:pt x="121" y="112"/>
                    <a:pt x="124" y="112"/>
                    <a:pt x="124" y="112"/>
                  </a:cubicBezTo>
                  <a:cubicBezTo>
                    <a:pt x="124" y="112"/>
                    <a:pt x="121" y="111"/>
                    <a:pt x="114" y="109"/>
                  </a:cubicBezTo>
                  <a:cubicBezTo>
                    <a:pt x="114" y="108"/>
                    <a:pt x="114" y="108"/>
                    <a:pt x="114" y="107"/>
                  </a:cubicBezTo>
                  <a:cubicBezTo>
                    <a:pt x="119" y="108"/>
                    <a:pt x="121" y="109"/>
                    <a:pt x="121" y="109"/>
                  </a:cubicBezTo>
                  <a:cubicBezTo>
                    <a:pt x="121" y="109"/>
                    <a:pt x="119" y="107"/>
                    <a:pt x="114" y="106"/>
                  </a:cubicBezTo>
                  <a:cubicBezTo>
                    <a:pt x="113" y="105"/>
                    <a:pt x="113" y="105"/>
                    <a:pt x="113" y="104"/>
                  </a:cubicBezTo>
                  <a:cubicBezTo>
                    <a:pt x="115" y="104"/>
                    <a:pt x="116" y="104"/>
                    <a:pt x="116" y="104"/>
                  </a:cubicBezTo>
                  <a:cubicBezTo>
                    <a:pt x="116" y="104"/>
                    <a:pt x="115" y="104"/>
                    <a:pt x="113" y="103"/>
                  </a:cubicBezTo>
                  <a:cubicBezTo>
                    <a:pt x="112" y="100"/>
                    <a:pt x="111" y="100"/>
                    <a:pt x="111" y="100"/>
                  </a:cubicBezTo>
                  <a:close/>
                  <a:moveTo>
                    <a:pt x="98" y="92"/>
                  </a:moveTo>
                  <a:cubicBezTo>
                    <a:pt x="99" y="91"/>
                    <a:pt x="100" y="91"/>
                    <a:pt x="101" y="89"/>
                  </a:cubicBezTo>
                  <a:cubicBezTo>
                    <a:pt x="102" y="90"/>
                    <a:pt x="104" y="92"/>
                    <a:pt x="105" y="93"/>
                  </a:cubicBezTo>
                  <a:cubicBezTo>
                    <a:pt x="101" y="93"/>
                    <a:pt x="99" y="92"/>
                    <a:pt x="99" y="9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99" y="92"/>
                    <a:pt x="98" y="92"/>
                    <a:pt x="98" y="92"/>
                  </a:cubicBezTo>
                  <a:close/>
                  <a:moveTo>
                    <a:pt x="90" y="80"/>
                  </a:moveTo>
                  <a:cubicBezTo>
                    <a:pt x="92" y="81"/>
                    <a:pt x="93" y="82"/>
                    <a:pt x="94" y="82"/>
                  </a:cubicBezTo>
                  <a:cubicBezTo>
                    <a:pt x="93" y="82"/>
                    <a:pt x="91" y="82"/>
                    <a:pt x="89" y="82"/>
                  </a:cubicBezTo>
                  <a:cubicBezTo>
                    <a:pt x="89" y="82"/>
                    <a:pt x="89" y="82"/>
                    <a:pt x="88" y="82"/>
                  </a:cubicBezTo>
                  <a:cubicBezTo>
                    <a:pt x="88" y="82"/>
                    <a:pt x="89" y="81"/>
                    <a:pt x="90" y="80"/>
                  </a:cubicBezTo>
                  <a:close/>
                  <a:moveTo>
                    <a:pt x="83" y="73"/>
                  </a:moveTo>
                  <a:cubicBezTo>
                    <a:pt x="83" y="74"/>
                    <a:pt x="84" y="75"/>
                    <a:pt x="85" y="75"/>
                  </a:cubicBezTo>
                  <a:cubicBezTo>
                    <a:pt x="84" y="75"/>
                    <a:pt x="82" y="75"/>
                    <a:pt x="82" y="75"/>
                  </a:cubicBezTo>
                  <a:cubicBezTo>
                    <a:pt x="81" y="75"/>
                    <a:pt x="81" y="75"/>
                    <a:pt x="82" y="75"/>
                  </a:cubicBezTo>
                  <a:cubicBezTo>
                    <a:pt x="82" y="74"/>
                    <a:pt x="82" y="74"/>
                    <a:pt x="83" y="73"/>
                  </a:cubicBezTo>
                  <a:close/>
                  <a:moveTo>
                    <a:pt x="73" y="65"/>
                  </a:moveTo>
                  <a:cubicBezTo>
                    <a:pt x="73" y="66"/>
                    <a:pt x="75" y="67"/>
                    <a:pt x="75" y="67"/>
                  </a:cubicBezTo>
                  <a:cubicBezTo>
                    <a:pt x="74" y="67"/>
                    <a:pt x="73" y="67"/>
                    <a:pt x="72" y="66"/>
                  </a:cubicBezTo>
                  <a:cubicBezTo>
                    <a:pt x="73" y="65"/>
                    <a:pt x="73" y="65"/>
                    <a:pt x="73" y="65"/>
                  </a:cubicBezTo>
                  <a:close/>
                  <a:moveTo>
                    <a:pt x="54" y="47"/>
                  </a:moveTo>
                  <a:cubicBezTo>
                    <a:pt x="72" y="56"/>
                    <a:pt x="87" y="64"/>
                    <a:pt x="104" y="74"/>
                  </a:cubicBezTo>
                  <a:cubicBezTo>
                    <a:pt x="107" y="75"/>
                    <a:pt x="108" y="76"/>
                    <a:pt x="108" y="76"/>
                  </a:cubicBezTo>
                  <a:cubicBezTo>
                    <a:pt x="108" y="76"/>
                    <a:pt x="107" y="75"/>
                    <a:pt x="105" y="74"/>
                  </a:cubicBezTo>
                  <a:cubicBezTo>
                    <a:pt x="89" y="63"/>
                    <a:pt x="70" y="53"/>
                    <a:pt x="53" y="45"/>
                  </a:cubicBezTo>
                  <a:cubicBezTo>
                    <a:pt x="56" y="46"/>
                    <a:pt x="62" y="48"/>
                    <a:pt x="65" y="49"/>
                  </a:cubicBezTo>
                  <a:cubicBezTo>
                    <a:pt x="67" y="50"/>
                    <a:pt x="69" y="50"/>
                    <a:pt x="71" y="51"/>
                  </a:cubicBezTo>
                  <a:cubicBezTo>
                    <a:pt x="72" y="52"/>
                    <a:pt x="72" y="52"/>
                    <a:pt x="72" y="53"/>
                  </a:cubicBezTo>
                  <a:cubicBezTo>
                    <a:pt x="73" y="54"/>
                    <a:pt x="75" y="52"/>
                    <a:pt x="76" y="52"/>
                  </a:cubicBezTo>
                  <a:cubicBezTo>
                    <a:pt x="78" y="52"/>
                    <a:pt x="81" y="52"/>
                    <a:pt x="83" y="53"/>
                  </a:cubicBezTo>
                  <a:cubicBezTo>
                    <a:pt x="85" y="55"/>
                    <a:pt x="83" y="54"/>
                    <a:pt x="83" y="55"/>
                  </a:cubicBezTo>
                  <a:cubicBezTo>
                    <a:pt x="82" y="56"/>
                    <a:pt x="81" y="58"/>
                    <a:pt x="83" y="57"/>
                  </a:cubicBezTo>
                  <a:cubicBezTo>
                    <a:pt x="85" y="56"/>
                    <a:pt x="86" y="55"/>
                    <a:pt x="88" y="54"/>
                  </a:cubicBezTo>
                  <a:cubicBezTo>
                    <a:pt x="89" y="54"/>
                    <a:pt x="92" y="55"/>
                    <a:pt x="93" y="55"/>
                  </a:cubicBezTo>
                  <a:cubicBezTo>
                    <a:pt x="96" y="57"/>
                    <a:pt x="90" y="60"/>
                    <a:pt x="92" y="63"/>
                  </a:cubicBezTo>
                  <a:cubicBezTo>
                    <a:pt x="94" y="62"/>
                    <a:pt x="93" y="58"/>
                    <a:pt x="97" y="57"/>
                  </a:cubicBezTo>
                  <a:cubicBezTo>
                    <a:pt x="100" y="56"/>
                    <a:pt x="102" y="58"/>
                    <a:pt x="105" y="58"/>
                  </a:cubicBezTo>
                  <a:cubicBezTo>
                    <a:pt x="103" y="58"/>
                    <a:pt x="101" y="61"/>
                    <a:pt x="101" y="62"/>
                  </a:cubicBezTo>
                  <a:cubicBezTo>
                    <a:pt x="99" y="64"/>
                    <a:pt x="99" y="67"/>
                    <a:pt x="100" y="69"/>
                  </a:cubicBezTo>
                  <a:cubicBezTo>
                    <a:pt x="101" y="69"/>
                    <a:pt x="101" y="68"/>
                    <a:pt x="101" y="68"/>
                  </a:cubicBezTo>
                  <a:cubicBezTo>
                    <a:pt x="101" y="67"/>
                    <a:pt x="101" y="66"/>
                    <a:pt x="101" y="65"/>
                  </a:cubicBezTo>
                  <a:cubicBezTo>
                    <a:pt x="101" y="63"/>
                    <a:pt x="104" y="61"/>
                    <a:pt x="105" y="59"/>
                  </a:cubicBezTo>
                  <a:cubicBezTo>
                    <a:pt x="107" y="58"/>
                    <a:pt x="109" y="58"/>
                    <a:pt x="111" y="59"/>
                  </a:cubicBezTo>
                  <a:cubicBezTo>
                    <a:pt x="112" y="60"/>
                    <a:pt x="112" y="60"/>
                    <a:pt x="111" y="62"/>
                  </a:cubicBezTo>
                  <a:cubicBezTo>
                    <a:pt x="110" y="65"/>
                    <a:pt x="106" y="64"/>
                    <a:pt x="107" y="73"/>
                  </a:cubicBezTo>
                  <a:cubicBezTo>
                    <a:pt x="107" y="73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8" y="74"/>
                    <a:pt x="108" y="73"/>
                    <a:pt x="108" y="72"/>
                  </a:cubicBezTo>
                  <a:cubicBezTo>
                    <a:pt x="109" y="71"/>
                    <a:pt x="108" y="70"/>
                    <a:pt x="109" y="69"/>
                  </a:cubicBezTo>
                  <a:cubicBezTo>
                    <a:pt x="109" y="66"/>
                    <a:pt x="111" y="65"/>
                    <a:pt x="112" y="64"/>
                  </a:cubicBezTo>
                  <a:cubicBezTo>
                    <a:pt x="115" y="60"/>
                    <a:pt x="114" y="60"/>
                    <a:pt x="125" y="63"/>
                  </a:cubicBezTo>
                  <a:cubicBezTo>
                    <a:pt x="123" y="62"/>
                    <a:pt x="121" y="65"/>
                    <a:pt x="121" y="66"/>
                  </a:cubicBezTo>
                  <a:cubicBezTo>
                    <a:pt x="119" y="70"/>
                    <a:pt x="121" y="71"/>
                    <a:pt x="119" y="74"/>
                  </a:cubicBezTo>
                  <a:cubicBezTo>
                    <a:pt x="119" y="75"/>
                    <a:pt x="118" y="76"/>
                    <a:pt x="118" y="77"/>
                  </a:cubicBezTo>
                  <a:cubicBezTo>
                    <a:pt x="118" y="78"/>
                    <a:pt x="118" y="80"/>
                    <a:pt x="119" y="80"/>
                  </a:cubicBezTo>
                  <a:cubicBezTo>
                    <a:pt x="120" y="80"/>
                    <a:pt x="119" y="77"/>
                    <a:pt x="119" y="77"/>
                  </a:cubicBezTo>
                  <a:cubicBezTo>
                    <a:pt x="119" y="75"/>
                    <a:pt x="122" y="74"/>
                    <a:pt x="123" y="72"/>
                  </a:cubicBezTo>
                  <a:cubicBezTo>
                    <a:pt x="123" y="72"/>
                    <a:pt x="121" y="65"/>
                    <a:pt x="125" y="64"/>
                  </a:cubicBezTo>
                  <a:cubicBezTo>
                    <a:pt x="129" y="63"/>
                    <a:pt x="132" y="65"/>
                    <a:pt x="135" y="66"/>
                  </a:cubicBezTo>
                  <a:cubicBezTo>
                    <a:pt x="132" y="65"/>
                    <a:pt x="128" y="73"/>
                    <a:pt x="128" y="76"/>
                  </a:cubicBezTo>
                  <a:cubicBezTo>
                    <a:pt x="128" y="77"/>
                    <a:pt x="129" y="79"/>
                    <a:pt x="129" y="80"/>
                  </a:cubicBezTo>
                  <a:cubicBezTo>
                    <a:pt x="129" y="82"/>
                    <a:pt x="128" y="83"/>
                    <a:pt x="131" y="85"/>
                  </a:cubicBezTo>
                  <a:cubicBezTo>
                    <a:pt x="132" y="82"/>
                    <a:pt x="129" y="77"/>
                    <a:pt x="130" y="75"/>
                  </a:cubicBezTo>
                  <a:cubicBezTo>
                    <a:pt x="130" y="72"/>
                    <a:pt x="131" y="71"/>
                    <a:pt x="134" y="69"/>
                  </a:cubicBezTo>
                  <a:cubicBezTo>
                    <a:pt x="135" y="67"/>
                    <a:pt x="137" y="67"/>
                    <a:pt x="139" y="67"/>
                  </a:cubicBezTo>
                  <a:cubicBezTo>
                    <a:pt x="140" y="67"/>
                    <a:pt x="145" y="70"/>
                    <a:pt x="146" y="69"/>
                  </a:cubicBezTo>
                  <a:cubicBezTo>
                    <a:pt x="141" y="72"/>
                    <a:pt x="143" y="75"/>
                    <a:pt x="142" y="80"/>
                  </a:cubicBezTo>
                  <a:cubicBezTo>
                    <a:pt x="142" y="82"/>
                    <a:pt x="139" y="84"/>
                    <a:pt x="138" y="86"/>
                  </a:cubicBezTo>
                  <a:cubicBezTo>
                    <a:pt x="138" y="89"/>
                    <a:pt x="141" y="90"/>
                    <a:pt x="141" y="86"/>
                  </a:cubicBezTo>
                  <a:cubicBezTo>
                    <a:pt x="140" y="84"/>
                    <a:pt x="144" y="82"/>
                    <a:pt x="144" y="81"/>
                  </a:cubicBezTo>
                  <a:cubicBezTo>
                    <a:pt x="146" y="78"/>
                    <a:pt x="143" y="74"/>
                    <a:pt x="145" y="73"/>
                  </a:cubicBezTo>
                  <a:cubicBezTo>
                    <a:pt x="146" y="72"/>
                    <a:pt x="147" y="72"/>
                    <a:pt x="149" y="70"/>
                  </a:cubicBezTo>
                  <a:cubicBezTo>
                    <a:pt x="152" y="71"/>
                    <a:pt x="154" y="72"/>
                    <a:pt x="157" y="73"/>
                  </a:cubicBezTo>
                  <a:cubicBezTo>
                    <a:pt x="156" y="74"/>
                    <a:pt x="155" y="75"/>
                    <a:pt x="154" y="76"/>
                  </a:cubicBezTo>
                  <a:cubicBezTo>
                    <a:pt x="150" y="82"/>
                    <a:pt x="153" y="86"/>
                    <a:pt x="150" y="91"/>
                  </a:cubicBezTo>
                  <a:cubicBezTo>
                    <a:pt x="150" y="92"/>
                    <a:pt x="149" y="92"/>
                    <a:pt x="149" y="93"/>
                  </a:cubicBezTo>
                  <a:cubicBezTo>
                    <a:pt x="154" y="93"/>
                    <a:pt x="152" y="85"/>
                    <a:pt x="155" y="79"/>
                  </a:cubicBezTo>
                  <a:cubicBezTo>
                    <a:pt x="158" y="74"/>
                    <a:pt x="161" y="73"/>
                    <a:pt x="166" y="77"/>
                  </a:cubicBezTo>
                  <a:cubicBezTo>
                    <a:pt x="166" y="76"/>
                    <a:pt x="161" y="81"/>
                    <a:pt x="162" y="88"/>
                  </a:cubicBezTo>
                  <a:cubicBezTo>
                    <a:pt x="162" y="89"/>
                    <a:pt x="163" y="91"/>
                    <a:pt x="163" y="92"/>
                  </a:cubicBezTo>
                  <a:cubicBezTo>
                    <a:pt x="163" y="93"/>
                    <a:pt x="162" y="94"/>
                    <a:pt x="162" y="94"/>
                  </a:cubicBezTo>
                  <a:cubicBezTo>
                    <a:pt x="161" y="95"/>
                    <a:pt x="160" y="99"/>
                    <a:pt x="162" y="100"/>
                  </a:cubicBezTo>
                  <a:cubicBezTo>
                    <a:pt x="162" y="96"/>
                    <a:pt x="163" y="98"/>
                    <a:pt x="164" y="93"/>
                  </a:cubicBezTo>
                  <a:cubicBezTo>
                    <a:pt x="165" y="89"/>
                    <a:pt x="164" y="87"/>
                    <a:pt x="165" y="84"/>
                  </a:cubicBezTo>
                  <a:cubicBezTo>
                    <a:pt x="165" y="82"/>
                    <a:pt x="168" y="79"/>
                    <a:pt x="171" y="78"/>
                  </a:cubicBezTo>
                  <a:cubicBezTo>
                    <a:pt x="173" y="79"/>
                    <a:pt x="176" y="81"/>
                    <a:pt x="179" y="82"/>
                  </a:cubicBezTo>
                  <a:cubicBezTo>
                    <a:pt x="175" y="83"/>
                    <a:pt x="170" y="87"/>
                    <a:pt x="171" y="92"/>
                  </a:cubicBezTo>
                  <a:cubicBezTo>
                    <a:pt x="172" y="102"/>
                    <a:pt x="168" y="100"/>
                    <a:pt x="169" y="103"/>
                  </a:cubicBezTo>
                  <a:cubicBezTo>
                    <a:pt x="174" y="100"/>
                    <a:pt x="173" y="94"/>
                    <a:pt x="173" y="91"/>
                  </a:cubicBezTo>
                  <a:cubicBezTo>
                    <a:pt x="173" y="90"/>
                    <a:pt x="174" y="89"/>
                    <a:pt x="175" y="88"/>
                  </a:cubicBezTo>
                  <a:cubicBezTo>
                    <a:pt x="176" y="85"/>
                    <a:pt x="181" y="83"/>
                    <a:pt x="182" y="83"/>
                  </a:cubicBezTo>
                  <a:cubicBezTo>
                    <a:pt x="185" y="84"/>
                    <a:pt x="188" y="85"/>
                    <a:pt x="191" y="87"/>
                  </a:cubicBezTo>
                  <a:cubicBezTo>
                    <a:pt x="187" y="87"/>
                    <a:pt x="184" y="89"/>
                    <a:pt x="183" y="93"/>
                  </a:cubicBezTo>
                  <a:cubicBezTo>
                    <a:pt x="183" y="96"/>
                    <a:pt x="187" y="98"/>
                    <a:pt x="183" y="105"/>
                  </a:cubicBezTo>
                  <a:cubicBezTo>
                    <a:pt x="183" y="105"/>
                    <a:pt x="180" y="110"/>
                    <a:pt x="181" y="109"/>
                  </a:cubicBezTo>
                  <a:cubicBezTo>
                    <a:pt x="184" y="108"/>
                    <a:pt x="187" y="102"/>
                    <a:pt x="187" y="101"/>
                  </a:cubicBezTo>
                  <a:cubicBezTo>
                    <a:pt x="188" y="95"/>
                    <a:pt x="184" y="93"/>
                    <a:pt x="187" y="91"/>
                  </a:cubicBezTo>
                  <a:cubicBezTo>
                    <a:pt x="189" y="89"/>
                    <a:pt x="193" y="89"/>
                    <a:pt x="196" y="89"/>
                  </a:cubicBezTo>
                  <a:cubicBezTo>
                    <a:pt x="199" y="90"/>
                    <a:pt x="201" y="92"/>
                    <a:pt x="204" y="93"/>
                  </a:cubicBezTo>
                  <a:cubicBezTo>
                    <a:pt x="199" y="93"/>
                    <a:pt x="195" y="96"/>
                    <a:pt x="196" y="100"/>
                  </a:cubicBezTo>
                  <a:cubicBezTo>
                    <a:pt x="196" y="104"/>
                    <a:pt x="197" y="106"/>
                    <a:pt x="194" y="108"/>
                  </a:cubicBezTo>
                  <a:cubicBezTo>
                    <a:pt x="193" y="109"/>
                    <a:pt x="191" y="110"/>
                    <a:pt x="191" y="112"/>
                  </a:cubicBezTo>
                  <a:cubicBezTo>
                    <a:pt x="190" y="114"/>
                    <a:pt x="192" y="116"/>
                    <a:pt x="192" y="116"/>
                  </a:cubicBezTo>
                  <a:cubicBezTo>
                    <a:pt x="192" y="115"/>
                    <a:pt x="191" y="112"/>
                    <a:pt x="195" y="109"/>
                  </a:cubicBezTo>
                  <a:cubicBezTo>
                    <a:pt x="196" y="109"/>
                    <a:pt x="198" y="108"/>
                    <a:pt x="198" y="106"/>
                  </a:cubicBezTo>
                  <a:cubicBezTo>
                    <a:pt x="199" y="103"/>
                    <a:pt x="196" y="100"/>
                    <a:pt x="198" y="98"/>
                  </a:cubicBezTo>
                  <a:cubicBezTo>
                    <a:pt x="200" y="95"/>
                    <a:pt x="207" y="94"/>
                    <a:pt x="207" y="94"/>
                  </a:cubicBezTo>
                  <a:cubicBezTo>
                    <a:pt x="209" y="95"/>
                    <a:pt x="211" y="96"/>
                    <a:pt x="213" y="97"/>
                  </a:cubicBezTo>
                  <a:cubicBezTo>
                    <a:pt x="210" y="97"/>
                    <a:pt x="206" y="99"/>
                    <a:pt x="205" y="103"/>
                  </a:cubicBezTo>
                  <a:cubicBezTo>
                    <a:pt x="205" y="106"/>
                    <a:pt x="206" y="109"/>
                    <a:pt x="204" y="112"/>
                  </a:cubicBezTo>
                  <a:cubicBezTo>
                    <a:pt x="203" y="114"/>
                    <a:pt x="201" y="116"/>
                    <a:pt x="199" y="118"/>
                  </a:cubicBezTo>
                  <a:cubicBezTo>
                    <a:pt x="203" y="120"/>
                    <a:pt x="206" y="112"/>
                    <a:pt x="206" y="110"/>
                  </a:cubicBezTo>
                  <a:cubicBezTo>
                    <a:pt x="208" y="106"/>
                    <a:pt x="206" y="103"/>
                    <a:pt x="210" y="101"/>
                  </a:cubicBezTo>
                  <a:cubicBezTo>
                    <a:pt x="211" y="100"/>
                    <a:pt x="215" y="98"/>
                    <a:pt x="216" y="99"/>
                  </a:cubicBezTo>
                  <a:cubicBezTo>
                    <a:pt x="216" y="99"/>
                    <a:pt x="219" y="100"/>
                    <a:pt x="224" y="103"/>
                  </a:cubicBezTo>
                  <a:cubicBezTo>
                    <a:pt x="219" y="103"/>
                    <a:pt x="215" y="108"/>
                    <a:pt x="214" y="112"/>
                  </a:cubicBezTo>
                  <a:cubicBezTo>
                    <a:pt x="213" y="114"/>
                    <a:pt x="213" y="117"/>
                    <a:pt x="211" y="119"/>
                  </a:cubicBezTo>
                  <a:cubicBezTo>
                    <a:pt x="210" y="121"/>
                    <a:pt x="208" y="122"/>
                    <a:pt x="205" y="123"/>
                  </a:cubicBezTo>
                  <a:cubicBezTo>
                    <a:pt x="206" y="124"/>
                    <a:pt x="210" y="123"/>
                    <a:pt x="210" y="123"/>
                  </a:cubicBezTo>
                  <a:cubicBezTo>
                    <a:pt x="215" y="119"/>
                    <a:pt x="213" y="109"/>
                    <a:pt x="222" y="106"/>
                  </a:cubicBezTo>
                  <a:cubicBezTo>
                    <a:pt x="223" y="106"/>
                    <a:pt x="223" y="105"/>
                    <a:pt x="224" y="105"/>
                  </a:cubicBezTo>
                  <a:cubicBezTo>
                    <a:pt x="225" y="104"/>
                    <a:pt x="226" y="104"/>
                    <a:pt x="226" y="104"/>
                  </a:cubicBezTo>
                  <a:cubicBezTo>
                    <a:pt x="228" y="105"/>
                    <a:pt x="229" y="106"/>
                    <a:pt x="231" y="107"/>
                  </a:cubicBezTo>
                  <a:cubicBezTo>
                    <a:pt x="229" y="106"/>
                    <a:pt x="225" y="112"/>
                    <a:pt x="224" y="113"/>
                  </a:cubicBezTo>
                  <a:cubicBezTo>
                    <a:pt x="220" y="117"/>
                    <a:pt x="222" y="121"/>
                    <a:pt x="219" y="124"/>
                  </a:cubicBezTo>
                  <a:cubicBezTo>
                    <a:pt x="219" y="125"/>
                    <a:pt x="216" y="127"/>
                    <a:pt x="217" y="127"/>
                  </a:cubicBezTo>
                  <a:cubicBezTo>
                    <a:pt x="218" y="128"/>
                    <a:pt x="219" y="127"/>
                    <a:pt x="220" y="127"/>
                  </a:cubicBezTo>
                  <a:cubicBezTo>
                    <a:pt x="226" y="122"/>
                    <a:pt x="220" y="111"/>
                    <a:pt x="234" y="109"/>
                  </a:cubicBezTo>
                  <a:cubicBezTo>
                    <a:pt x="236" y="110"/>
                    <a:pt x="238" y="111"/>
                    <a:pt x="242" y="113"/>
                  </a:cubicBezTo>
                  <a:cubicBezTo>
                    <a:pt x="240" y="112"/>
                    <a:pt x="234" y="118"/>
                    <a:pt x="234" y="118"/>
                  </a:cubicBezTo>
                  <a:cubicBezTo>
                    <a:pt x="231" y="122"/>
                    <a:pt x="233" y="126"/>
                    <a:pt x="231" y="129"/>
                  </a:cubicBezTo>
                  <a:cubicBezTo>
                    <a:pt x="230" y="130"/>
                    <a:pt x="227" y="131"/>
                    <a:pt x="227" y="132"/>
                  </a:cubicBezTo>
                  <a:cubicBezTo>
                    <a:pt x="229" y="132"/>
                    <a:pt x="232" y="130"/>
                    <a:pt x="233" y="128"/>
                  </a:cubicBezTo>
                  <a:cubicBezTo>
                    <a:pt x="234" y="126"/>
                    <a:pt x="234" y="123"/>
                    <a:pt x="236" y="121"/>
                  </a:cubicBezTo>
                  <a:cubicBezTo>
                    <a:pt x="237" y="119"/>
                    <a:pt x="242" y="114"/>
                    <a:pt x="245" y="115"/>
                  </a:cubicBezTo>
                  <a:cubicBezTo>
                    <a:pt x="247" y="116"/>
                    <a:pt x="249" y="118"/>
                    <a:pt x="251" y="119"/>
                  </a:cubicBezTo>
                  <a:cubicBezTo>
                    <a:pt x="250" y="118"/>
                    <a:pt x="246" y="121"/>
                    <a:pt x="245" y="121"/>
                  </a:cubicBezTo>
                  <a:cubicBezTo>
                    <a:pt x="241" y="125"/>
                    <a:pt x="240" y="130"/>
                    <a:pt x="239" y="132"/>
                  </a:cubicBezTo>
                  <a:cubicBezTo>
                    <a:pt x="239" y="134"/>
                    <a:pt x="236" y="135"/>
                    <a:pt x="236" y="136"/>
                  </a:cubicBezTo>
                  <a:cubicBezTo>
                    <a:pt x="237" y="135"/>
                    <a:pt x="238" y="136"/>
                    <a:pt x="239" y="135"/>
                  </a:cubicBezTo>
                  <a:cubicBezTo>
                    <a:pt x="243" y="133"/>
                    <a:pt x="241" y="128"/>
                    <a:pt x="247" y="123"/>
                  </a:cubicBezTo>
                  <a:cubicBezTo>
                    <a:pt x="249" y="122"/>
                    <a:pt x="251" y="122"/>
                    <a:pt x="254" y="121"/>
                  </a:cubicBezTo>
                  <a:cubicBezTo>
                    <a:pt x="256" y="120"/>
                    <a:pt x="261" y="126"/>
                    <a:pt x="263" y="127"/>
                  </a:cubicBezTo>
                  <a:cubicBezTo>
                    <a:pt x="262" y="126"/>
                    <a:pt x="254" y="127"/>
                    <a:pt x="251" y="132"/>
                  </a:cubicBezTo>
                  <a:cubicBezTo>
                    <a:pt x="249" y="134"/>
                    <a:pt x="250" y="138"/>
                    <a:pt x="248" y="140"/>
                  </a:cubicBezTo>
                  <a:cubicBezTo>
                    <a:pt x="248" y="140"/>
                    <a:pt x="247" y="140"/>
                    <a:pt x="247" y="141"/>
                  </a:cubicBezTo>
                  <a:cubicBezTo>
                    <a:pt x="249" y="141"/>
                    <a:pt x="250" y="138"/>
                    <a:pt x="251" y="136"/>
                  </a:cubicBezTo>
                  <a:cubicBezTo>
                    <a:pt x="253" y="133"/>
                    <a:pt x="257" y="129"/>
                    <a:pt x="261" y="129"/>
                  </a:cubicBezTo>
                  <a:cubicBezTo>
                    <a:pt x="267" y="128"/>
                    <a:pt x="270" y="132"/>
                    <a:pt x="274" y="136"/>
                  </a:cubicBezTo>
                  <a:cubicBezTo>
                    <a:pt x="272" y="134"/>
                    <a:pt x="263" y="134"/>
                    <a:pt x="257" y="145"/>
                  </a:cubicBezTo>
                  <a:cubicBezTo>
                    <a:pt x="260" y="144"/>
                    <a:pt x="262" y="140"/>
                    <a:pt x="265" y="139"/>
                  </a:cubicBezTo>
                  <a:cubicBezTo>
                    <a:pt x="269" y="138"/>
                    <a:pt x="273" y="138"/>
                    <a:pt x="277" y="138"/>
                  </a:cubicBezTo>
                  <a:cubicBezTo>
                    <a:pt x="278" y="138"/>
                    <a:pt x="281" y="142"/>
                    <a:pt x="282" y="143"/>
                  </a:cubicBezTo>
                  <a:cubicBezTo>
                    <a:pt x="283" y="144"/>
                    <a:pt x="284" y="144"/>
                    <a:pt x="285" y="145"/>
                  </a:cubicBezTo>
                  <a:cubicBezTo>
                    <a:pt x="280" y="144"/>
                    <a:pt x="272" y="146"/>
                    <a:pt x="266" y="154"/>
                  </a:cubicBezTo>
                  <a:cubicBezTo>
                    <a:pt x="271" y="151"/>
                    <a:pt x="275" y="147"/>
                    <a:pt x="284" y="147"/>
                  </a:cubicBezTo>
                  <a:cubicBezTo>
                    <a:pt x="284" y="147"/>
                    <a:pt x="285" y="147"/>
                    <a:pt x="286" y="147"/>
                  </a:cubicBezTo>
                  <a:cubicBezTo>
                    <a:pt x="286" y="147"/>
                    <a:pt x="286" y="147"/>
                    <a:pt x="287" y="147"/>
                  </a:cubicBezTo>
                  <a:cubicBezTo>
                    <a:pt x="310" y="168"/>
                    <a:pt x="317" y="183"/>
                    <a:pt x="320" y="188"/>
                  </a:cubicBezTo>
                  <a:cubicBezTo>
                    <a:pt x="321" y="190"/>
                    <a:pt x="327" y="199"/>
                    <a:pt x="324" y="201"/>
                  </a:cubicBezTo>
                  <a:cubicBezTo>
                    <a:pt x="322" y="202"/>
                    <a:pt x="318" y="200"/>
                    <a:pt x="316" y="200"/>
                  </a:cubicBezTo>
                  <a:cubicBezTo>
                    <a:pt x="312" y="199"/>
                    <a:pt x="308" y="199"/>
                    <a:pt x="303" y="198"/>
                  </a:cubicBezTo>
                  <a:cubicBezTo>
                    <a:pt x="300" y="198"/>
                    <a:pt x="296" y="199"/>
                    <a:pt x="294" y="197"/>
                  </a:cubicBezTo>
                  <a:cubicBezTo>
                    <a:pt x="291" y="195"/>
                    <a:pt x="294" y="193"/>
                    <a:pt x="297" y="192"/>
                  </a:cubicBezTo>
                  <a:cubicBezTo>
                    <a:pt x="301" y="192"/>
                    <a:pt x="305" y="193"/>
                    <a:pt x="309" y="193"/>
                  </a:cubicBezTo>
                  <a:cubicBezTo>
                    <a:pt x="312" y="194"/>
                    <a:pt x="314" y="193"/>
                    <a:pt x="316" y="191"/>
                  </a:cubicBezTo>
                  <a:cubicBezTo>
                    <a:pt x="312" y="193"/>
                    <a:pt x="308" y="192"/>
                    <a:pt x="305" y="191"/>
                  </a:cubicBezTo>
                  <a:cubicBezTo>
                    <a:pt x="307" y="191"/>
                    <a:pt x="309" y="191"/>
                    <a:pt x="310" y="190"/>
                  </a:cubicBezTo>
                  <a:cubicBezTo>
                    <a:pt x="312" y="190"/>
                    <a:pt x="313" y="189"/>
                    <a:pt x="313" y="188"/>
                  </a:cubicBezTo>
                  <a:cubicBezTo>
                    <a:pt x="315" y="187"/>
                    <a:pt x="315" y="185"/>
                    <a:pt x="315" y="184"/>
                  </a:cubicBezTo>
                  <a:cubicBezTo>
                    <a:pt x="315" y="183"/>
                    <a:pt x="315" y="182"/>
                    <a:pt x="314" y="182"/>
                  </a:cubicBezTo>
                  <a:cubicBezTo>
                    <a:pt x="314" y="181"/>
                    <a:pt x="314" y="181"/>
                    <a:pt x="314" y="181"/>
                  </a:cubicBezTo>
                  <a:cubicBezTo>
                    <a:pt x="314" y="181"/>
                    <a:pt x="314" y="181"/>
                    <a:pt x="314" y="182"/>
                  </a:cubicBezTo>
                  <a:cubicBezTo>
                    <a:pt x="314" y="182"/>
                    <a:pt x="314" y="183"/>
                    <a:pt x="314" y="184"/>
                  </a:cubicBezTo>
                  <a:cubicBezTo>
                    <a:pt x="314" y="185"/>
                    <a:pt x="314" y="186"/>
                    <a:pt x="312" y="187"/>
                  </a:cubicBezTo>
                  <a:cubicBezTo>
                    <a:pt x="312" y="188"/>
                    <a:pt x="311" y="188"/>
                    <a:pt x="310" y="189"/>
                  </a:cubicBezTo>
                  <a:cubicBezTo>
                    <a:pt x="309" y="189"/>
                    <a:pt x="308" y="190"/>
                    <a:pt x="306" y="189"/>
                  </a:cubicBezTo>
                  <a:cubicBezTo>
                    <a:pt x="304" y="189"/>
                    <a:pt x="302" y="189"/>
                    <a:pt x="301" y="188"/>
                  </a:cubicBezTo>
                  <a:cubicBezTo>
                    <a:pt x="299" y="187"/>
                    <a:pt x="299" y="186"/>
                    <a:pt x="298" y="185"/>
                  </a:cubicBezTo>
                  <a:cubicBezTo>
                    <a:pt x="298" y="184"/>
                    <a:pt x="297" y="183"/>
                    <a:pt x="297" y="183"/>
                  </a:cubicBezTo>
                  <a:cubicBezTo>
                    <a:pt x="297" y="182"/>
                    <a:pt x="297" y="182"/>
                    <a:pt x="297" y="182"/>
                  </a:cubicBezTo>
                  <a:cubicBezTo>
                    <a:pt x="297" y="182"/>
                    <a:pt x="297" y="182"/>
                    <a:pt x="297" y="183"/>
                  </a:cubicBezTo>
                  <a:cubicBezTo>
                    <a:pt x="297" y="183"/>
                    <a:pt x="297" y="184"/>
                    <a:pt x="297" y="185"/>
                  </a:cubicBezTo>
                  <a:cubicBezTo>
                    <a:pt x="297" y="185"/>
                    <a:pt x="297" y="185"/>
                    <a:pt x="297" y="186"/>
                  </a:cubicBezTo>
                  <a:cubicBezTo>
                    <a:pt x="298" y="186"/>
                    <a:pt x="298" y="186"/>
                    <a:pt x="298" y="187"/>
                  </a:cubicBezTo>
                  <a:cubicBezTo>
                    <a:pt x="298" y="187"/>
                    <a:pt x="299" y="188"/>
                    <a:pt x="299" y="189"/>
                  </a:cubicBezTo>
                  <a:cubicBezTo>
                    <a:pt x="300" y="190"/>
                    <a:pt x="302" y="190"/>
                    <a:pt x="303" y="191"/>
                  </a:cubicBezTo>
                  <a:cubicBezTo>
                    <a:pt x="298" y="190"/>
                    <a:pt x="292" y="190"/>
                    <a:pt x="291" y="194"/>
                  </a:cubicBezTo>
                  <a:cubicBezTo>
                    <a:pt x="290" y="199"/>
                    <a:pt x="294" y="201"/>
                    <a:pt x="298" y="201"/>
                  </a:cubicBezTo>
                  <a:cubicBezTo>
                    <a:pt x="310" y="200"/>
                    <a:pt x="319" y="203"/>
                    <a:pt x="319" y="203"/>
                  </a:cubicBezTo>
                  <a:cubicBezTo>
                    <a:pt x="320" y="204"/>
                    <a:pt x="319" y="204"/>
                    <a:pt x="318" y="205"/>
                  </a:cubicBezTo>
                  <a:cubicBezTo>
                    <a:pt x="309" y="205"/>
                    <a:pt x="298" y="204"/>
                    <a:pt x="290" y="202"/>
                  </a:cubicBezTo>
                  <a:cubicBezTo>
                    <a:pt x="290" y="202"/>
                    <a:pt x="287" y="201"/>
                    <a:pt x="287" y="201"/>
                  </a:cubicBezTo>
                  <a:cubicBezTo>
                    <a:pt x="278" y="198"/>
                    <a:pt x="280" y="187"/>
                    <a:pt x="284" y="181"/>
                  </a:cubicBezTo>
                  <a:cubicBezTo>
                    <a:pt x="285" y="179"/>
                    <a:pt x="286" y="177"/>
                    <a:pt x="291" y="176"/>
                  </a:cubicBezTo>
                  <a:cubicBezTo>
                    <a:pt x="285" y="175"/>
                    <a:pt x="281" y="181"/>
                    <a:pt x="279" y="186"/>
                  </a:cubicBezTo>
                  <a:cubicBezTo>
                    <a:pt x="279" y="189"/>
                    <a:pt x="278" y="199"/>
                    <a:pt x="282" y="200"/>
                  </a:cubicBezTo>
                  <a:cubicBezTo>
                    <a:pt x="263" y="194"/>
                    <a:pt x="269" y="197"/>
                    <a:pt x="263" y="194"/>
                  </a:cubicBezTo>
                  <a:cubicBezTo>
                    <a:pt x="263" y="194"/>
                    <a:pt x="263" y="194"/>
                    <a:pt x="263" y="194"/>
                  </a:cubicBezTo>
                  <a:cubicBezTo>
                    <a:pt x="258" y="191"/>
                    <a:pt x="259" y="186"/>
                    <a:pt x="260" y="180"/>
                  </a:cubicBezTo>
                  <a:cubicBezTo>
                    <a:pt x="260" y="176"/>
                    <a:pt x="260" y="173"/>
                    <a:pt x="262" y="170"/>
                  </a:cubicBezTo>
                  <a:cubicBezTo>
                    <a:pt x="264" y="164"/>
                    <a:pt x="270" y="157"/>
                    <a:pt x="275" y="155"/>
                  </a:cubicBezTo>
                  <a:cubicBezTo>
                    <a:pt x="280" y="153"/>
                    <a:pt x="283" y="154"/>
                    <a:pt x="283" y="154"/>
                  </a:cubicBezTo>
                  <a:cubicBezTo>
                    <a:pt x="283" y="154"/>
                    <a:pt x="281" y="152"/>
                    <a:pt x="276" y="153"/>
                  </a:cubicBezTo>
                  <a:cubicBezTo>
                    <a:pt x="270" y="155"/>
                    <a:pt x="263" y="162"/>
                    <a:pt x="260" y="168"/>
                  </a:cubicBezTo>
                  <a:cubicBezTo>
                    <a:pt x="257" y="173"/>
                    <a:pt x="256" y="186"/>
                    <a:pt x="258" y="191"/>
                  </a:cubicBezTo>
                  <a:cubicBezTo>
                    <a:pt x="137" y="130"/>
                    <a:pt x="118" y="99"/>
                    <a:pt x="72" y="63"/>
                  </a:cubicBezTo>
                  <a:cubicBezTo>
                    <a:pt x="63" y="55"/>
                    <a:pt x="59" y="52"/>
                    <a:pt x="54" y="47"/>
                  </a:cubicBezTo>
                  <a:close/>
                  <a:moveTo>
                    <a:pt x="6" y="60"/>
                  </a:moveTo>
                  <a:cubicBezTo>
                    <a:pt x="5" y="60"/>
                    <a:pt x="4" y="60"/>
                    <a:pt x="3" y="59"/>
                  </a:cubicBezTo>
                  <a:cubicBezTo>
                    <a:pt x="6" y="57"/>
                    <a:pt x="11" y="57"/>
                    <a:pt x="14" y="56"/>
                  </a:cubicBezTo>
                  <a:cubicBezTo>
                    <a:pt x="25" y="54"/>
                    <a:pt x="34" y="42"/>
                    <a:pt x="44" y="42"/>
                  </a:cubicBezTo>
                  <a:cubicBezTo>
                    <a:pt x="44" y="39"/>
                    <a:pt x="42" y="26"/>
                    <a:pt x="43" y="18"/>
                  </a:cubicBezTo>
                  <a:cubicBezTo>
                    <a:pt x="44" y="5"/>
                    <a:pt x="42" y="4"/>
                    <a:pt x="44" y="1"/>
                  </a:cubicBezTo>
                  <a:cubicBezTo>
                    <a:pt x="53" y="11"/>
                    <a:pt x="62" y="27"/>
                    <a:pt x="66" y="48"/>
                  </a:cubicBezTo>
                  <a:cubicBezTo>
                    <a:pt x="54" y="43"/>
                    <a:pt x="57" y="44"/>
                    <a:pt x="54" y="44"/>
                  </a:cubicBezTo>
                  <a:cubicBezTo>
                    <a:pt x="54" y="43"/>
                    <a:pt x="52" y="43"/>
                    <a:pt x="51" y="43"/>
                  </a:cubicBezTo>
                  <a:cubicBezTo>
                    <a:pt x="50" y="43"/>
                    <a:pt x="50" y="44"/>
                    <a:pt x="50" y="45"/>
                  </a:cubicBezTo>
                  <a:cubicBezTo>
                    <a:pt x="51" y="47"/>
                    <a:pt x="58" y="54"/>
                    <a:pt x="60" y="56"/>
                  </a:cubicBezTo>
                  <a:cubicBezTo>
                    <a:pt x="42" y="62"/>
                    <a:pt x="24" y="64"/>
                    <a:pt x="6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9" name="Freeform 346">
              <a:extLst>
                <a:ext uri="{FF2B5EF4-FFF2-40B4-BE49-F238E27FC236}">
                  <a16:creationId xmlns:a16="http://schemas.microsoft.com/office/drawing/2014/main" id="{5B9BEFD0-51C8-46A3-A9FD-0601B642B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150" y="1139826"/>
              <a:ext cx="25400" cy="39688"/>
            </a:xfrm>
            <a:custGeom>
              <a:avLst/>
              <a:gdLst>
                <a:gd name="T0" fmla="*/ 9 w 10"/>
                <a:gd name="T1" fmla="*/ 12 h 15"/>
                <a:gd name="T2" fmla="*/ 0 w 10"/>
                <a:gd name="T3" fmla="*/ 12 h 15"/>
                <a:gd name="T4" fmla="*/ 7 w 10"/>
                <a:gd name="T5" fmla="*/ 11 h 15"/>
                <a:gd name="T6" fmla="*/ 4 w 10"/>
                <a:gd name="T7" fmla="*/ 2 h 15"/>
                <a:gd name="T8" fmla="*/ 3 w 10"/>
                <a:gd name="T9" fmla="*/ 0 h 15"/>
                <a:gd name="T10" fmla="*/ 7 w 10"/>
                <a:gd name="T11" fmla="*/ 7 h 15"/>
                <a:gd name="T12" fmla="*/ 9 w 10"/>
                <a:gd name="T1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10" y="15"/>
                    <a:pt x="1" y="13"/>
                    <a:pt x="0" y="12"/>
                  </a:cubicBezTo>
                  <a:cubicBezTo>
                    <a:pt x="2" y="12"/>
                    <a:pt x="7" y="13"/>
                    <a:pt x="7" y="11"/>
                  </a:cubicBezTo>
                  <a:cubicBezTo>
                    <a:pt x="7" y="8"/>
                    <a:pt x="5" y="5"/>
                    <a:pt x="4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4" y="2"/>
                    <a:pt x="6" y="4"/>
                    <a:pt x="7" y="7"/>
                  </a:cubicBezTo>
                  <a:cubicBezTo>
                    <a:pt x="8" y="8"/>
                    <a:pt x="9" y="10"/>
                    <a:pt x="9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0" name="Freeform 347">
              <a:extLst>
                <a:ext uri="{FF2B5EF4-FFF2-40B4-BE49-F238E27FC236}">
                  <a16:creationId xmlns:a16="http://schemas.microsoft.com/office/drawing/2014/main" id="{41E842E5-2CCD-4FDF-9197-D5ECD00394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6350" y="1100138"/>
              <a:ext cx="52388" cy="53975"/>
            </a:xfrm>
            <a:custGeom>
              <a:avLst/>
              <a:gdLst>
                <a:gd name="T0" fmla="*/ 8 w 20"/>
                <a:gd name="T1" fmla="*/ 18 h 20"/>
                <a:gd name="T2" fmla="*/ 18 w 20"/>
                <a:gd name="T3" fmla="*/ 10 h 20"/>
                <a:gd name="T4" fmla="*/ 10 w 20"/>
                <a:gd name="T5" fmla="*/ 5 h 20"/>
                <a:gd name="T6" fmla="*/ 8 w 20"/>
                <a:gd name="T7" fmla="*/ 18 h 20"/>
                <a:gd name="T8" fmla="*/ 15 w 20"/>
                <a:gd name="T9" fmla="*/ 9 h 20"/>
                <a:gd name="T10" fmla="*/ 8 w 20"/>
                <a:gd name="T11" fmla="*/ 16 h 20"/>
                <a:gd name="T12" fmla="*/ 15 w 20"/>
                <a:gd name="T13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8" y="18"/>
                  </a:moveTo>
                  <a:cubicBezTo>
                    <a:pt x="14" y="20"/>
                    <a:pt x="20" y="15"/>
                    <a:pt x="18" y="10"/>
                  </a:cubicBezTo>
                  <a:cubicBezTo>
                    <a:pt x="16" y="7"/>
                    <a:pt x="13" y="5"/>
                    <a:pt x="10" y="5"/>
                  </a:cubicBezTo>
                  <a:cubicBezTo>
                    <a:pt x="2" y="5"/>
                    <a:pt x="1" y="15"/>
                    <a:pt x="8" y="18"/>
                  </a:cubicBezTo>
                  <a:close/>
                  <a:moveTo>
                    <a:pt x="15" y="9"/>
                  </a:moveTo>
                  <a:cubicBezTo>
                    <a:pt x="18" y="12"/>
                    <a:pt x="14" y="18"/>
                    <a:pt x="8" y="16"/>
                  </a:cubicBezTo>
                  <a:cubicBezTo>
                    <a:pt x="0" y="13"/>
                    <a:pt x="7" y="0"/>
                    <a:pt x="15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1" name="Freeform 348">
              <a:extLst>
                <a:ext uri="{FF2B5EF4-FFF2-40B4-BE49-F238E27FC236}">
                  <a16:creationId xmlns:a16="http://schemas.microsoft.com/office/drawing/2014/main" id="{DB8F6BFF-523D-4365-9E68-1DBF7B90A1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42225" y="1119188"/>
              <a:ext cx="23813" cy="20638"/>
            </a:xfrm>
            <a:custGeom>
              <a:avLst/>
              <a:gdLst>
                <a:gd name="T0" fmla="*/ 0 w 9"/>
                <a:gd name="T1" fmla="*/ 4 h 8"/>
                <a:gd name="T2" fmla="*/ 4 w 9"/>
                <a:gd name="T3" fmla="*/ 8 h 8"/>
                <a:gd name="T4" fmla="*/ 8 w 9"/>
                <a:gd name="T5" fmla="*/ 4 h 8"/>
                <a:gd name="T6" fmla="*/ 4 w 9"/>
                <a:gd name="T7" fmla="*/ 0 h 8"/>
                <a:gd name="T8" fmla="*/ 0 w 9"/>
                <a:gd name="T9" fmla="*/ 4 h 8"/>
                <a:gd name="T10" fmla="*/ 6 w 9"/>
                <a:gd name="T11" fmla="*/ 4 h 8"/>
                <a:gd name="T12" fmla="*/ 4 w 9"/>
                <a:gd name="T13" fmla="*/ 6 h 8"/>
                <a:gd name="T14" fmla="*/ 6 w 9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8">
                  <a:moveTo>
                    <a:pt x="0" y="4"/>
                  </a:moveTo>
                  <a:cubicBezTo>
                    <a:pt x="0" y="6"/>
                    <a:pt x="2" y="8"/>
                    <a:pt x="4" y="8"/>
                  </a:cubicBezTo>
                  <a:cubicBezTo>
                    <a:pt x="6" y="8"/>
                    <a:pt x="9" y="6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lose/>
                  <a:moveTo>
                    <a:pt x="6" y="4"/>
                  </a:moveTo>
                  <a:cubicBezTo>
                    <a:pt x="7" y="6"/>
                    <a:pt x="5" y="7"/>
                    <a:pt x="4" y="6"/>
                  </a:cubicBezTo>
                  <a:cubicBezTo>
                    <a:pt x="3" y="4"/>
                    <a:pt x="5" y="2"/>
                    <a:pt x="6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2" name="Freeform 349">
              <a:extLst>
                <a:ext uri="{FF2B5EF4-FFF2-40B4-BE49-F238E27FC236}">
                  <a16:creationId xmlns:a16="http://schemas.microsoft.com/office/drawing/2014/main" id="{7EC98EE7-B173-4CE4-B453-443F57F9F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725" y="1822451"/>
              <a:ext cx="119063" cy="44450"/>
            </a:xfrm>
            <a:custGeom>
              <a:avLst/>
              <a:gdLst>
                <a:gd name="T0" fmla="*/ 21 w 45"/>
                <a:gd name="T1" fmla="*/ 6 h 17"/>
                <a:gd name="T2" fmla="*/ 45 w 45"/>
                <a:gd name="T3" fmla="*/ 16 h 17"/>
                <a:gd name="T4" fmla="*/ 45 w 45"/>
                <a:gd name="T5" fmla="*/ 17 h 17"/>
                <a:gd name="T6" fmla="*/ 17 w 45"/>
                <a:gd name="T7" fmla="*/ 7 h 17"/>
                <a:gd name="T8" fmla="*/ 0 w 45"/>
                <a:gd name="T9" fmla="*/ 9 h 17"/>
                <a:gd name="T10" fmla="*/ 14 w 45"/>
                <a:gd name="T11" fmla="*/ 4 h 17"/>
                <a:gd name="T12" fmla="*/ 21 w 45"/>
                <a:gd name="T13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7">
                  <a:moveTo>
                    <a:pt x="21" y="6"/>
                  </a:moveTo>
                  <a:cubicBezTo>
                    <a:pt x="23" y="7"/>
                    <a:pt x="39" y="8"/>
                    <a:pt x="45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33" y="7"/>
                    <a:pt x="27" y="10"/>
                    <a:pt x="17" y="7"/>
                  </a:cubicBezTo>
                  <a:cubicBezTo>
                    <a:pt x="6" y="3"/>
                    <a:pt x="5" y="4"/>
                    <a:pt x="0" y="9"/>
                  </a:cubicBezTo>
                  <a:cubicBezTo>
                    <a:pt x="1" y="8"/>
                    <a:pt x="1" y="0"/>
                    <a:pt x="14" y="4"/>
                  </a:cubicBezTo>
                  <a:cubicBezTo>
                    <a:pt x="16" y="5"/>
                    <a:pt x="19" y="6"/>
                    <a:pt x="21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3" name="Freeform 350">
              <a:extLst>
                <a:ext uri="{FF2B5EF4-FFF2-40B4-BE49-F238E27FC236}">
                  <a16:creationId xmlns:a16="http://schemas.microsoft.com/office/drawing/2014/main" id="{AEC032DC-1F83-467A-9B0A-0F6287E41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7475" y="1743076"/>
              <a:ext cx="55563" cy="68263"/>
            </a:xfrm>
            <a:custGeom>
              <a:avLst/>
              <a:gdLst>
                <a:gd name="T0" fmla="*/ 0 w 21"/>
                <a:gd name="T1" fmla="*/ 19 h 26"/>
                <a:gd name="T2" fmla="*/ 0 w 21"/>
                <a:gd name="T3" fmla="*/ 19 h 26"/>
                <a:gd name="T4" fmla="*/ 3 w 21"/>
                <a:gd name="T5" fmla="*/ 5 h 26"/>
                <a:gd name="T6" fmla="*/ 9 w 21"/>
                <a:gd name="T7" fmla="*/ 2 h 26"/>
                <a:gd name="T8" fmla="*/ 12 w 21"/>
                <a:gd name="T9" fmla="*/ 0 h 26"/>
                <a:gd name="T10" fmla="*/ 15 w 21"/>
                <a:gd name="T11" fmla="*/ 1 h 26"/>
                <a:gd name="T12" fmla="*/ 21 w 21"/>
                <a:gd name="T13" fmla="*/ 16 h 26"/>
                <a:gd name="T14" fmla="*/ 17 w 21"/>
                <a:gd name="T15" fmla="*/ 25 h 26"/>
                <a:gd name="T16" fmla="*/ 17 w 21"/>
                <a:gd name="T17" fmla="*/ 8 h 26"/>
                <a:gd name="T18" fmla="*/ 14 w 21"/>
                <a:gd name="T19" fmla="*/ 2 h 26"/>
                <a:gd name="T20" fmla="*/ 12 w 21"/>
                <a:gd name="T21" fmla="*/ 3 h 26"/>
                <a:gd name="T22" fmla="*/ 6 w 21"/>
                <a:gd name="T23" fmla="*/ 5 h 26"/>
                <a:gd name="T24" fmla="*/ 0 w 21"/>
                <a:gd name="T25" fmla="*/ 19 h 26"/>
                <a:gd name="T26" fmla="*/ 9 w 21"/>
                <a:gd name="T27" fmla="*/ 21 h 26"/>
                <a:gd name="T28" fmla="*/ 13 w 21"/>
                <a:gd name="T29" fmla="*/ 23 h 26"/>
                <a:gd name="T30" fmla="*/ 16 w 21"/>
                <a:gd name="T31" fmla="*/ 25 h 26"/>
                <a:gd name="T32" fmla="*/ 0 w 21"/>
                <a:gd name="T33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6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1" y="16"/>
                    <a:pt x="2" y="6"/>
                    <a:pt x="3" y="5"/>
                  </a:cubicBezTo>
                  <a:cubicBezTo>
                    <a:pt x="4" y="2"/>
                    <a:pt x="7" y="3"/>
                    <a:pt x="9" y="2"/>
                  </a:cubicBezTo>
                  <a:cubicBezTo>
                    <a:pt x="11" y="2"/>
                    <a:pt x="11" y="1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6" y="1"/>
                    <a:pt x="21" y="14"/>
                    <a:pt x="21" y="16"/>
                  </a:cubicBezTo>
                  <a:cubicBezTo>
                    <a:pt x="21" y="21"/>
                    <a:pt x="19" y="26"/>
                    <a:pt x="17" y="25"/>
                  </a:cubicBezTo>
                  <a:cubicBezTo>
                    <a:pt x="18" y="23"/>
                    <a:pt x="20" y="17"/>
                    <a:pt x="17" y="8"/>
                  </a:cubicBezTo>
                  <a:cubicBezTo>
                    <a:pt x="17" y="7"/>
                    <a:pt x="14" y="0"/>
                    <a:pt x="14" y="2"/>
                  </a:cubicBezTo>
                  <a:cubicBezTo>
                    <a:pt x="14" y="2"/>
                    <a:pt x="14" y="1"/>
                    <a:pt x="12" y="3"/>
                  </a:cubicBezTo>
                  <a:cubicBezTo>
                    <a:pt x="10" y="5"/>
                    <a:pt x="7" y="3"/>
                    <a:pt x="6" y="5"/>
                  </a:cubicBezTo>
                  <a:cubicBezTo>
                    <a:pt x="5" y="6"/>
                    <a:pt x="2" y="15"/>
                    <a:pt x="0" y="19"/>
                  </a:cubicBezTo>
                  <a:cubicBezTo>
                    <a:pt x="3" y="19"/>
                    <a:pt x="6" y="20"/>
                    <a:pt x="9" y="21"/>
                  </a:cubicBezTo>
                  <a:cubicBezTo>
                    <a:pt x="11" y="21"/>
                    <a:pt x="12" y="22"/>
                    <a:pt x="13" y="23"/>
                  </a:cubicBezTo>
                  <a:cubicBezTo>
                    <a:pt x="16" y="24"/>
                    <a:pt x="16" y="25"/>
                    <a:pt x="16" y="25"/>
                  </a:cubicBezTo>
                  <a:cubicBezTo>
                    <a:pt x="10" y="21"/>
                    <a:pt x="9" y="22"/>
                    <a:pt x="0" y="1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4" name="Freeform 351">
              <a:extLst>
                <a:ext uri="{FF2B5EF4-FFF2-40B4-BE49-F238E27FC236}">
                  <a16:creationId xmlns:a16="http://schemas.microsoft.com/office/drawing/2014/main" id="{61560D53-0EA5-42D8-BD62-BD4F00526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3988" y="1755776"/>
              <a:ext cx="15875" cy="50800"/>
            </a:xfrm>
            <a:custGeom>
              <a:avLst/>
              <a:gdLst>
                <a:gd name="T0" fmla="*/ 1 w 6"/>
                <a:gd name="T1" fmla="*/ 19 h 19"/>
                <a:gd name="T2" fmla="*/ 0 w 6"/>
                <a:gd name="T3" fmla="*/ 0 h 19"/>
                <a:gd name="T4" fmla="*/ 1 w 6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1" y="19"/>
                  </a:moveTo>
                  <a:cubicBezTo>
                    <a:pt x="2" y="10"/>
                    <a:pt x="2" y="8"/>
                    <a:pt x="0" y="0"/>
                  </a:cubicBezTo>
                  <a:cubicBezTo>
                    <a:pt x="1" y="1"/>
                    <a:pt x="6" y="9"/>
                    <a:pt x="1" y="1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5" name="Freeform 352">
              <a:extLst>
                <a:ext uri="{FF2B5EF4-FFF2-40B4-BE49-F238E27FC236}">
                  <a16:creationId xmlns:a16="http://schemas.microsoft.com/office/drawing/2014/main" id="{060D6652-1A03-40F3-BC4C-7AA19AA7A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9225" y="1755776"/>
              <a:ext cx="4763" cy="55563"/>
            </a:xfrm>
            <a:custGeom>
              <a:avLst/>
              <a:gdLst>
                <a:gd name="T0" fmla="*/ 2 w 2"/>
                <a:gd name="T1" fmla="*/ 9 h 21"/>
                <a:gd name="T2" fmla="*/ 1 w 2"/>
                <a:gd name="T3" fmla="*/ 17 h 21"/>
                <a:gd name="T4" fmla="*/ 1 w 2"/>
                <a:gd name="T5" fmla="*/ 8 h 21"/>
                <a:gd name="T6" fmla="*/ 0 w 2"/>
                <a:gd name="T7" fmla="*/ 1 h 21"/>
                <a:gd name="T8" fmla="*/ 0 w 2"/>
                <a:gd name="T9" fmla="*/ 0 h 21"/>
                <a:gd name="T10" fmla="*/ 2 w 2"/>
                <a:gd name="T11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1">
                  <a:moveTo>
                    <a:pt x="2" y="9"/>
                  </a:moveTo>
                  <a:cubicBezTo>
                    <a:pt x="2" y="14"/>
                    <a:pt x="1" y="17"/>
                    <a:pt x="1" y="17"/>
                  </a:cubicBezTo>
                  <a:cubicBezTo>
                    <a:pt x="1" y="13"/>
                    <a:pt x="1" y="21"/>
                    <a:pt x="1" y="8"/>
                  </a:cubicBezTo>
                  <a:cubicBezTo>
                    <a:pt x="0" y="5"/>
                    <a:pt x="0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2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6" name="Freeform 353">
              <a:extLst>
                <a:ext uri="{FF2B5EF4-FFF2-40B4-BE49-F238E27FC236}">
                  <a16:creationId xmlns:a16="http://schemas.microsoft.com/office/drawing/2014/main" id="{9924DE4A-1904-4D91-A1A6-54210AF71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755776"/>
              <a:ext cx="4763" cy="38100"/>
            </a:xfrm>
            <a:custGeom>
              <a:avLst/>
              <a:gdLst>
                <a:gd name="T0" fmla="*/ 0 w 2"/>
                <a:gd name="T1" fmla="*/ 14 h 14"/>
                <a:gd name="T2" fmla="*/ 1 w 2"/>
                <a:gd name="T3" fmla="*/ 0 h 14"/>
                <a:gd name="T4" fmla="*/ 0 w 2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4">
                  <a:moveTo>
                    <a:pt x="0" y="14"/>
                  </a:moveTo>
                  <a:cubicBezTo>
                    <a:pt x="0" y="8"/>
                    <a:pt x="0" y="6"/>
                    <a:pt x="1" y="0"/>
                  </a:cubicBezTo>
                  <a:cubicBezTo>
                    <a:pt x="1" y="0"/>
                    <a:pt x="2" y="10"/>
                    <a:pt x="0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7" name="Freeform 354">
              <a:extLst>
                <a:ext uri="{FF2B5EF4-FFF2-40B4-BE49-F238E27FC236}">
                  <a16:creationId xmlns:a16="http://schemas.microsoft.com/office/drawing/2014/main" id="{C4A74101-5A4B-4D13-B7F0-EFFB7CA17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0175" y="1758951"/>
              <a:ext cx="11113" cy="31750"/>
            </a:xfrm>
            <a:custGeom>
              <a:avLst/>
              <a:gdLst>
                <a:gd name="T0" fmla="*/ 2 w 4"/>
                <a:gd name="T1" fmla="*/ 0 h 12"/>
                <a:gd name="T2" fmla="*/ 0 w 4"/>
                <a:gd name="T3" fmla="*/ 12 h 12"/>
                <a:gd name="T4" fmla="*/ 2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2" y="0"/>
                  </a:moveTo>
                  <a:cubicBezTo>
                    <a:pt x="2" y="0"/>
                    <a:pt x="4" y="6"/>
                    <a:pt x="0" y="12"/>
                  </a:cubicBezTo>
                  <a:cubicBezTo>
                    <a:pt x="1" y="5"/>
                    <a:pt x="1" y="6"/>
                    <a:pt x="2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8" name="Freeform 355">
              <a:extLst>
                <a:ext uri="{FF2B5EF4-FFF2-40B4-BE49-F238E27FC236}">
                  <a16:creationId xmlns:a16="http://schemas.microsoft.com/office/drawing/2014/main" id="{302D3466-9E14-4BC3-A0A4-0AF3A8D35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3338" y="1441451"/>
              <a:ext cx="33338" cy="360363"/>
            </a:xfrm>
            <a:custGeom>
              <a:avLst/>
              <a:gdLst>
                <a:gd name="T0" fmla="*/ 13 w 13"/>
                <a:gd name="T1" fmla="*/ 136 h 136"/>
                <a:gd name="T2" fmla="*/ 5 w 13"/>
                <a:gd name="T3" fmla="*/ 42 h 136"/>
                <a:gd name="T4" fmla="*/ 11 w 13"/>
                <a:gd name="T5" fmla="*/ 0 h 136"/>
                <a:gd name="T6" fmla="*/ 13 w 13"/>
                <a:gd name="T7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6">
                  <a:moveTo>
                    <a:pt x="13" y="136"/>
                  </a:moveTo>
                  <a:cubicBezTo>
                    <a:pt x="13" y="136"/>
                    <a:pt x="0" y="93"/>
                    <a:pt x="5" y="42"/>
                  </a:cubicBezTo>
                  <a:cubicBezTo>
                    <a:pt x="7" y="22"/>
                    <a:pt x="11" y="1"/>
                    <a:pt x="11" y="0"/>
                  </a:cubicBezTo>
                  <a:cubicBezTo>
                    <a:pt x="6" y="41"/>
                    <a:pt x="3" y="76"/>
                    <a:pt x="13" y="13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9" name="Freeform 356">
              <a:extLst>
                <a:ext uri="{FF2B5EF4-FFF2-40B4-BE49-F238E27FC236}">
                  <a16:creationId xmlns:a16="http://schemas.microsoft.com/office/drawing/2014/main" id="{F98CED31-186A-4C6D-BF9E-8225C805C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725" y="1349376"/>
              <a:ext cx="71438" cy="50800"/>
            </a:xfrm>
            <a:custGeom>
              <a:avLst/>
              <a:gdLst>
                <a:gd name="T0" fmla="*/ 0 w 27"/>
                <a:gd name="T1" fmla="*/ 19 h 19"/>
                <a:gd name="T2" fmla="*/ 0 w 27"/>
                <a:gd name="T3" fmla="*/ 19 h 19"/>
                <a:gd name="T4" fmla="*/ 0 w 27"/>
                <a:gd name="T5" fmla="*/ 19 h 19"/>
                <a:gd name="T6" fmla="*/ 0 w 27"/>
                <a:gd name="T7" fmla="*/ 19 h 19"/>
                <a:gd name="T8" fmla="*/ 27 w 27"/>
                <a:gd name="T9" fmla="*/ 0 h 19"/>
                <a:gd name="T10" fmla="*/ 0 w 27"/>
                <a:gd name="T1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5" y="18"/>
                    <a:pt x="27" y="0"/>
                    <a:pt x="27" y="0"/>
                  </a:cubicBezTo>
                  <a:cubicBezTo>
                    <a:pt x="27" y="0"/>
                    <a:pt x="14" y="15"/>
                    <a:pt x="0" y="1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0" name="Freeform 357">
              <a:extLst>
                <a:ext uri="{FF2B5EF4-FFF2-40B4-BE49-F238E27FC236}">
                  <a16:creationId xmlns:a16="http://schemas.microsoft.com/office/drawing/2014/main" id="{C5E55FDD-0F96-49BD-AF30-77EC4F152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13" y="1301751"/>
              <a:ext cx="103188" cy="90488"/>
            </a:xfrm>
            <a:custGeom>
              <a:avLst/>
              <a:gdLst>
                <a:gd name="T0" fmla="*/ 39 w 39"/>
                <a:gd name="T1" fmla="*/ 34 h 34"/>
                <a:gd name="T2" fmla="*/ 1 w 39"/>
                <a:gd name="T3" fmla="*/ 1 h 34"/>
                <a:gd name="T4" fmla="*/ 0 w 39"/>
                <a:gd name="T5" fmla="*/ 0 h 34"/>
                <a:gd name="T6" fmla="*/ 1 w 39"/>
                <a:gd name="T7" fmla="*/ 1 h 34"/>
                <a:gd name="T8" fmla="*/ 39 w 39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4">
                  <a:moveTo>
                    <a:pt x="39" y="34"/>
                  </a:moveTo>
                  <a:cubicBezTo>
                    <a:pt x="39" y="34"/>
                    <a:pt x="15" y="17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15" y="14"/>
                    <a:pt x="20" y="18"/>
                    <a:pt x="39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1" name="Freeform 358">
              <a:extLst>
                <a:ext uri="{FF2B5EF4-FFF2-40B4-BE49-F238E27FC236}">
                  <a16:creationId xmlns:a16="http://schemas.microsoft.com/office/drawing/2014/main" id="{F695069F-47F5-4CFD-995E-EBE7A9EF6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9838" y="1312863"/>
              <a:ext cx="80963" cy="73025"/>
            </a:xfrm>
            <a:custGeom>
              <a:avLst/>
              <a:gdLst>
                <a:gd name="T0" fmla="*/ 0 w 31"/>
                <a:gd name="T1" fmla="*/ 0 h 28"/>
                <a:gd name="T2" fmla="*/ 0 w 31"/>
                <a:gd name="T3" fmla="*/ 0 h 28"/>
                <a:gd name="T4" fmla="*/ 31 w 31"/>
                <a:gd name="T5" fmla="*/ 28 h 28"/>
                <a:gd name="T6" fmla="*/ 0 w 31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10"/>
                    <a:pt x="15" y="14"/>
                    <a:pt x="31" y="28"/>
                  </a:cubicBezTo>
                  <a:cubicBezTo>
                    <a:pt x="31" y="28"/>
                    <a:pt x="11" y="14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2" name="Freeform 359">
              <a:extLst>
                <a:ext uri="{FF2B5EF4-FFF2-40B4-BE49-F238E27FC236}">
                  <a16:creationId xmlns:a16="http://schemas.microsoft.com/office/drawing/2014/main" id="{90C4A7BE-D3E4-47EF-B235-81AE813C7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5238" y="1328738"/>
              <a:ext cx="58738" cy="55563"/>
            </a:xfrm>
            <a:custGeom>
              <a:avLst/>
              <a:gdLst>
                <a:gd name="T0" fmla="*/ 1 w 22"/>
                <a:gd name="T1" fmla="*/ 0 h 21"/>
                <a:gd name="T2" fmla="*/ 0 w 22"/>
                <a:gd name="T3" fmla="*/ 0 h 21"/>
                <a:gd name="T4" fmla="*/ 22 w 22"/>
                <a:gd name="T5" fmla="*/ 21 h 21"/>
                <a:gd name="T6" fmla="*/ 1 w 22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16"/>
                    <a:pt x="15" y="14"/>
                    <a:pt x="22" y="21"/>
                  </a:cubicBezTo>
                  <a:cubicBezTo>
                    <a:pt x="22" y="21"/>
                    <a:pt x="7" y="1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3" name="Freeform 360">
              <a:extLst>
                <a:ext uri="{FF2B5EF4-FFF2-40B4-BE49-F238E27FC236}">
                  <a16:creationId xmlns:a16="http://schemas.microsoft.com/office/drawing/2014/main" id="{890A17C6-11F8-4F56-A5DD-E1CA9ED76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5" y="1320801"/>
              <a:ext cx="53975" cy="57150"/>
            </a:xfrm>
            <a:custGeom>
              <a:avLst/>
              <a:gdLst>
                <a:gd name="T0" fmla="*/ 6 w 20"/>
                <a:gd name="T1" fmla="*/ 6 h 22"/>
                <a:gd name="T2" fmla="*/ 20 w 20"/>
                <a:gd name="T3" fmla="*/ 22 h 22"/>
                <a:gd name="T4" fmla="*/ 6 w 20"/>
                <a:gd name="T5" fmla="*/ 7 h 22"/>
                <a:gd name="T6" fmla="*/ 6 w 20"/>
                <a:gd name="T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2">
                  <a:moveTo>
                    <a:pt x="6" y="6"/>
                  </a:moveTo>
                  <a:cubicBezTo>
                    <a:pt x="11" y="13"/>
                    <a:pt x="0" y="0"/>
                    <a:pt x="20" y="22"/>
                  </a:cubicBezTo>
                  <a:cubicBezTo>
                    <a:pt x="19" y="22"/>
                    <a:pt x="8" y="14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4" name="Freeform 361">
              <a:extLst>
                <a:ext uri="{FF2B5EF4-FFF2-40B4-BE49-F238E27FC236}">
                  <a16:creationId xmlns:a16="http://schemas.microsoft.com/office/drawing/2014/main" id="{9D93A65B-8A82-45C0-A42D-B12CD65E7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925" y="1346201"/>
              <a:ext cx="22225" cy="30163"/>
            </a:xfrm>
            <a:custGeom>
              <a:avLst/>
              <a:gdLst>
                <a:gd name="T0" fmla="*/ 0 w 8"/>
                <a:gd name="T1" fmla="*/ 0 h 11"/>
                <a:gd name="T2" fmla="*/ 5 w 8"/>
                <a:gd name="T3" fmla="*/ 6 h 11"/>
                <a:gd name="T4" fmla="*/ 8 w 8"/>
                <a:gd name="T5" fmla="*/ 11 h 11"/>
                <a:gd name="T6" fmla="*/ 3 w 8"/>
                <a:gd name="T7" fmla="*/ 6 h 11"/>
                <a:gd name="T8" fmla="*/ 0 w 8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0"/>
                  </a:moveTo>
                  <a:cubicBezTo>
                    <a:pt x="0" y="0"/>
                    <a:pt x="2" y="1"/>
                    <a:pt x="5" y="6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8" y="11"/>
                    <a:pt x="6" y="10"/>
                    <a:pt x="3" y="6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5" name="Freeform 362">
              <a:extLst>
                <a:ext uri="{FF2B5EF4-FFF2-40B4-BE49-F238E27FC236}">
                  <a16:creationId xmlns:a16="http://schemas.microsoft.com/office/drawing/2014/main" id="{F72C1DB0-BF0F-478A-91B0-75668A206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0800" y="1354138"/>
              <a:ext cx="14288" cy="19050"/>
            </a:xfrm>
            <a:custGeom>
              <a:avLst/>
              <a:gdLst>
                <a:gd name="T0" fmla="*/ 0 w 5"/>
                <a:gd name="T1" fmla="*/ 0 h 7"/>
                <a:gd name="T2" fmla="*/ 3 w 5"/>
                <a:gd name="T3" fmla="*/ 4 h 7"/>
                <a:gd name="T4" fmla="*/ 4 w 5"/>
                <a:gd name="T5" fmla="*/ 7 h 7"/>
                <a:gd name="T6" fmla="*/ 2 w 5"/>
                <a:gd name="T7" fmla="*/ 4 h 7"/>
                <a:gd name="T8" fmla="*/ 0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0"/>
                  </a:moveTo>
                  <a:cubicBezTo>
                    <a:pt x="0" y="0"/>
                    <a:pt x="1" y="1"/>
                    <a:pt x="3" y="4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4" y="7"/>
                    <a:pt x="3" y="6"/>
                    <a:pt x="2" y="4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6" name="Freeform 363">
              <a:extLst>
                <a:ext uri="{FF2B5EF4-FFF2-40B4-BE49-F238E27FC236}">
                  <a16:creationId xmlns:a16="http://schemas.microsoft.com/office/drawing/2014/main" id="{B7C631E0-8069-40B6-9963-56FD86C90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725" y="1349376"/>
              <a:ext cx="57150" cy="44450"/>
            </a:xfrm>
            <a:custGeom>
              <a:avLst/>
              <a:gdLst>
                <a:gd name="T0" fmla="*/ 0 w 22"/>
                <a:gd name="T1" fmla="*/ 17 h 17"/>
                <a:gd name="T2" fmla="*/ 22 w 22"/>
                <a:gd name="T3" fmla="*/ 0 h 17"/>
                <a:gd name="T4" fmla="*/ 0 w 22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7">
                  <a:moveTo>
                    <a:pt x="0" y="17"/>
                  </a:moveTo>
                  <a:cubicBezTo>
                    <a:pt x="10" y="11"/>
                    <a:pt x="12" y="9"/>
                    <a:pt x="22" y="0"/>
                  </a:cubicBezTo>
                  <a:cubicBezTo>
                    <a:pt x="22" y="1"/>
                    <a:pt x="17" y="9"/>
                    <a:pt x="0" y="1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7" name="Freeform 364">
              <a:extLst>
                <a:ext uri="{FF2B5EF4-FFF2-40B4-BE49-F238E27FC236}">
                  <a16:creationId xmlns:a16="http://schemas.microsoft.com/office/drawing/2014/main" id="{5CDD30BA-83A9-49CC-8ADB-1F7E8C30B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725" y="1354138"/>
              <a:ext cx="41275" cy="34925"/>
            </a:xfrm>
            <a:custGeom>
              <a:avLst/>
              <a:gdLst>
                <a:gd name="T0" fmla="*/ 0 w 16"/>
                <a:gd name="T1" fmla="*/ 13 h 13"/>
                <a:gd name="T2" fmla="*/ 16 w 16"/>
                <a:gd name="T3" fmla="*/ 0 h 13"/>
                <a:gd name="T4" fmla="*/ 0 w 16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13"/>
                  </a:moveTo>
                  <a:cubicBezTo>
                    <a:pt x="6" y="8"/>
                    <a:pt x="13" y="2"/>
                    <a:pt x="16" y="0"/>
                  </a:cubicBezTo>
                  <a:cubicBezTo>
                    <a:pt x="16" y="0"/>
                    <a:pt x="13" y="6"/>
                    <a:pt x="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8" name="Freeform 365">
              <a:extLst>
                <a:ext uri="{FF2B5EF4-FFF2-40B4-BE49-F238E27FC236}">
                  <a16:creationId xmlns:a16="http://schemas.microsoft.com/office/drawing/2014/main" id="{585871FD-1DE8-4F6F-9BF0-16E9BB322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1354138"/>
              <a:ext cx="31750" cy="31750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0 h 12"/>
                <a:gd name="T4" fmla="*/ 0 w 12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cubicBezTo>
                    <a:pt x="8" y="4"/>
                    <a:pt x="5" y="7"/>
                    <a:pt x="12" y="0"/>
                  </a:cubicBezTo>
                  <a:cubicBezTo>
                    <a:pt x="12" y="0"/>
                    <a:pt x="11" y="6"/>
                    <a:pt x="0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9" name="Freeform 366">
              <a:extLst>
                <a:ext uri="{FF2B5EF4-FFF2-40B4-BE49-F238E27FC236}">
                  <a16:creationId xmlns:a16="http://schemas.microsoft.com/office/drawing/2014/main" id="{5EBE542E-646D-4E2B-9E2D-66FDCB900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788" y="1357313"/>
              <a:ext cx="20638" cy="23813"/>
            </a:xfrm>
            <a:custGeom>
              <a:avLst/>
              <a:gdLst>
                <a:gd name="T0" fmla="*/ 0 w 8"/>
                <a:gd name="T1" fmla="*/ 9 h 9"/>
                <a:gd name="T2" fmla="*/ 8 w 8"/>
                <a:gd name="T3" fmla="*/ 0 h 9"/>
                <a:gd name="T4" fmla="*/ 0 w 8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0" y="9"/>
                  </a:moveTo>
                  <a:cubicBezTo>
                    <a:pt x="6" y="2"/>
                    <a:pt x="2" y="7"/>
                    <a:pt x="8" y="0"/>
                  </a:cubicBezTo>
                  <a:cubicBezTo>
                    <a:pt x="8" y="0"/>
                    <a:pt x="8" y="5"/>
                    <a:pt x="0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0" name="Freeform 367">
              <a:extLst>
                <a:ext uri="{FF2B5EF4-FFF2-40B4-BE49-F238E27FC236}">
                  <a16:creationId xmlns:a16="http://schemas.microsoft.com/office/drawing/2014/main" id="{CEF8F017-E426-4319-889F-1B9BE68B7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4613" y="1357313"/>
              <a:ext cx="14288" cy="19050"/>
            </a:xfrm>
            <a:custGeom>
              <a:avLst/>
              <a:gdLst>
                <a:gd name="T0" fmla="*/ 5 w 5"/>
                <a:gd name="T1" fmla="*/ 0 h 7"/>
                <a:gd name="T2" fmla="*/ 5 w 5"/>
                <a:gd name="T3" fmla="*/ 1 h 7"/>
                <a:gd name="T4" fmla="*/ 0 w 5"/>
                <a:gd name="T5" fmla="*/ 7 h 7"/>
                <a:gd name="T6" fmla="*/ 4 w 5"/>
                <a:gd name="T7" fmla="*/ 0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5" y="0"/>
                    <a:pt x="5" y="0"/>
                    <a:pt x="5" y="1"/>
                  </a:cubicBezTo>
                  <a:cubicBezTo>
                    <a:pt x="4" y="6"/>
                    <a:pt x="0" y="7"/>
                    <a:pt x="0" y="7"/>
                  </a:cubicBezTo>
                  <a:cubicBezTo>
                    <a:pt x="0" y="7"/>
                    <a:pt x="3" y="2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1" name="Freeform 368">
              <a:extLst>
                <a:ext uri="{FF2B5EF4-FFF2-40B4-BE49-F238E27FC236}">
                  <a16:creationId xmlns:a16="http://schemas.microsoft.com/office/drawing/2014/main" id="{6B96E6B9-3C65-4FD4-BA44-FDAAA8893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4613" y="1360488"/>
              <a:ext cx="3175" cy="15875"/>
            </a:xfrm>
            <a:custGeom>
              <a:avLst/>
              <a:gdLst>
                <a:gd name="T0" fmla="*/ 1 w 1"/>
                <a:gd name="T1" fmla="*/ 3 h 6"/>
                <a:gd name="T2" fmla="*/ 0 w 1"/>
                <a:gd name="T3" fmla="*/ 6 h 6"/>
                <a:gd name="T4" fmla="*/ 0 w 1"/>
                <a:gd name="T5" fmla="*/ 3 h 6"/>
                <a:gd name="T6" fmla="*/ 1 w 1"/>
                <a:gd name="T7" fmla="*/ 0 h 6"/>
                <a:gd name="T8" fmla="*/ 1 w 1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1" y="3"/>
                  </a:move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5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2" name="Freeform 369">
              <a:extLst>
                <a:ext uri="{FF2B5EF4-FFF2-40B4-BE49-F238E27FC236}">
                  <a16:creationId xmlns:a16="http://schemas.microsoft.com/office/drawing/2014/main" id="{631C7599-9D28-48EC-8170-49B524E1A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1360488"/>
              <a:ext cx="4763" cy="9525"/>
            </a:xfrm>
            <a:custGeom>
              <a:avLst/>
              <a:gdLst>
                <a:gd name="T0" fmla="*/ 1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1 w 2"/>
                <a:gd name="T7" fmla="*/ 3 h 4"/>
                <a:gd name="T8" fmla="*/ 1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1" y="4"/>
                    <a:pt x="1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1" y="3"/>
                  </a:cubicBezTo>
                  <a:cubicBezTo>
                    <a:pt x="2" y="4"/>
                    <a:pt x="1" y="4"/>
                    <a:pt x="1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3" name="Freeform 370">
              <a:extLst>
                <a:ext uri="{FF2B5EF4-FFF2-40B4-BE49-F238E27FC236}">
                  <a16:creationId xmlns:a16="http://schemas.microsoft.com/office/drawing/2014/main" id="{10326FAD-F928-4522-BDA9-1C9819222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4788" y="1857376"/>
              <a:ext cx="20638" cy="44450"/>
            </a:xfrm>
            <a:custGeom>
              <a:avLst/>
              <a:gdLst>
                <a:gd name="T0" fmla="*/ 8 w 8"/>
                <a:gd name="T1" fmla="*/ 0 h 17"/>
                <a:gd name="T2" fmla="*/ 1 w 8"/>
                <a:gd name="T3" fmla="*/ 15 h 17"/>
                <a:gd name="T4" fmla="*/ 0 w 8"/>
                <a:gd name="T5" fmla="*/ 17 h 17"/>
                <a:gd name="T6" fmla="*/ 7 w 8"/>
                <a:gd name="T7" fmla="*/ 1 h 17"/>
                <a:gd name="T8" fmla="*/ 8 w 8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cubicBezTo>
                    <a:pt x="8" y="0"/>
                    <a:pt x="7" y="9"/>
                    <a:pt x="1" y="15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7"/>
                    <a:pt x="4" y="6"/>
                    <a:pt x="7" y="1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4" name="Freeform 371">
              <a:extLst>
                <a:ext uri="{FF2B5EF4-FFF2-40B4-BE49-F238E27FC236}">
                  <a16:creationId xmlns:a16="http://schemas.microsoft.com/office/drawing/2014/main" id="{ECF65F44-A79F-4536-9C91-F945A4CF0D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703388"/>
              <a:ext cx="7938" cy="26988"/>
            </a:xfrm>
            <a:custGeom>
              <a:avLst/>
              <a:gdLst>
                <a:gd name="T0" fmla="*/ 0 w 3"/>
                <a:gd name="T1" fmla="*/ 0 h 10"/>
                <a:gd name="T2" fmla="*/ 3 w 3"/>
                <a:gd name="T3" fmla="*/ 9 h 10"/>
                <a:gd name="T4" fmla="*/ 2 w 3"/>
                <a:gd name="T5" fmla="*/ 10 h 10"/>
                <a:gd name="T6" fmla="*/ 0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cubicBezTo>
                    <a:pt x="3" y="4"/>
                    <a:pt x="3" y="7"/>
                    <a:pt x="3" y="9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0" y="6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5" name="Freeform 372">
              <a:extLst>
                <a:ext uri="{FF2B5EF4-FFF2-40B4-BE49-F238E27FC236}">
                  <a16:creationId xmlns:a16="http://schemas.microsoft.com/office/drawing/2014/main" id="{7AF3D93C-7076-45A4-BBC4-76AA2DF44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1647826"/>
              <a:ext cx="14288" cy="42863"/>
            </a:xfrm>
            <a:custGeom>
              <a:avLst/>
              <a:gdLst>
                <a:gd name="T0" fmla="*/ 1 w 5"/>
                <a:gd name="T1" fmla="*/ 0 h 16"/>
                <a:gd name="T2" fmla="*/ 4 w 5"/>
                <a:gd name="T3" fmla="*/ 8 h 16"/>
                <a:gd name="T4" fmla="*/ 4 w 5"/>
                <a:gd name="T5" fmla="*/ 16 h 16"/>
                <a:gd name="T6" fmla="*/ 2 w 5"/>
                <a:gd name="T7" fmla="*/ 8 h 16"/>
                <a:gd name="T8" fmla="*/ 1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1" y="0"/>
                  </a:moveTo>
                  <a:cubicBezTo>
                    <a:pt x="1" y="0"/>
                    <a:pt x="2" y="2"/>
                    <a:pt x="4" y="8"/>
                  </a:cubicBezTo>
                  <a:cubicBezTo>
                    <a:pt x="5" y="15"/>
                    <a:pt x="4" y="16"/>
                    <a:pt x="4" y="16"/>
                  </a:cubicBezTo>
                  <a:cubicBezTo>
                    <a:pt x="4" y="16"/>
                    <a:pt x="3" y="14"/>
                    <a:pt x="2" y="8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6" name="Freeform 373">
              <a:extLst>
                <a:ext uri="{FF2B5EF4-FFF2-40B4-BE49-F238E27FC236}">
                  <a16:creationId xmlns:a16="http://schemas.microsoft.com/office/drawing/2014/main" id="{6D3BAD6D-F735-47E3-B138-4FF64FF6C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7475" y="1608138"/>
              <a:ext cx="9525" cy="23813"/>
            </a:xfrm>
            <a:custGeom>
              <a:avLst/>
              <a:gdLst>
                <a:gd name="T0" fmla="*/ 1 w 4"/>
                <a:gd name="T1" fmla="*/ 0 h 9"/>
                <a:gd name="T2" fmla="*/ 3 w 4"/>
                <a:gd name="T3" fmla="*/ 5 h 9"/>
                <a:gd name="T4" fmla="*/ 3 w 4"/>
                <a:gd name="T5" fmla="*/ 9 h 9"/>
                <a:gd name="T6" fmla="*/ 1 w 4"/>
                <a:gd name="T7" fmla="*/ 4 h 9"/>
                <a:gd name="T8" fmla="*/ 1 w 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">
                  <a:moveTo>
                    <a:pt x="1" y="0"/>
                  </a:moveTo>
                  <a:cubicBezTo>
                    <a:pt x="1" y="0"/>
                    <a:pt x="2" y="1"/>
                    <a:pt x="3" y="5"/>
                  </a:cubicBezTo>
                  <a:cubicBezTo>
                    <a:pt x="4" y="8"/>
                    <a:pt x="3" y="9"/>
                    <a:pt x="3" y="9"/>
                  </a:cubicBezTo>
                  <a:cubicBezTo>
                    <a:pt x="3" y="9"/>
                    <a:pt x="2" y="8"/>
                    <a:pt x="1" y="4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7" name="Freeform 374">
              <a:extLst>
                <a:ext uri="{FF2B5EF4-FFF2-40B4-BE49-F238E27FC236}">
                  <a16:creationId xmlns:a16="http://schemas.microsoft.com/office/drawing/2014/main" id="{E477514F-143D-44A5-B1CC-BAB56FE51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525588"/>
              <a:ext cx="19050" cy="66675"/>
            </a:xfrm>
            <a:custGeom>
              <a:avLst/>
              <a:gdLst>
                <a:gd name="T0" fmla="*/ 1 w 7"/>
                <a:gd name="T1" fmla="*/ 0 h 25"/>
                <a:gd name="T2" fmla="*/ 4 w 7"/>
                <a:gd name="T3" fmla="*/ 13 h 25"/>
                <a:gd name="T4" fmla="*/ 6 w 7"/>
                <a:gd name="T5" fmla="*/ 25 h 25"/>
                <a:gd name="T6" fmla="*/ 2 w 7"/>
                <a:gd name="T7" fmla="*/ 13 h 25"/>
                <a:gd name="T8" fmla="*/ 1 w 7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5">
                  <a:moveTo>
                    <a:pt x="1" y="0"/>
                  </a:moveTo>
                  <a:cubicBezTo>
                    <a:pt x="1" y="0"/>
                    <a:pt x="2" y="3"/>
                    <a:pt x="4" y="13"/>
                  </a:cubicBezTo>
                  <a:cubicBezTo>
                    <a:pt x="7" y="23"/>
                    <a:pt x="6" y="25"/>
                    <a:pt x="6" y="25"/>
                  </a:cubicBezTo>
                  <a:cubicBezTo>
                    <a:pt x="6" y="25"/>
                    <a:pt x="5" y="22"/>
                    <a:pt x="2" y="13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8" name="Freeform 375">
              <a:extLst>
                <a:ext uri="{FF2B5EF4-FFF2-40B4-BE49-F238E27FC236}">
                  <a16:creationId xmlns:a16="http://schemas.microsoft.com/office/drawing/2014/main" id="{75AFDA9F-F6D5-4807-93DF-35E449EDD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4913" y="1285876"/>
              <a:ext cx="354013" cy="660400"/>
            </a:xfrm>
            <a:custGeom>
              <a:avLst/>
              <a:gdLst>
                <a:gd name="T0" fmla="*/ 40 w 134"/>
                <a:gd name="T1" fmla="*/ 59 h 250"/>
                <a:gd name="T2" fmla="*/ 35 w 134"/>
                <a:gd name="T3" fmla="*/ 73 h 250"/>
                <a:gd name="T4" fmla="*/ 39 w 134"/>
                <a:gd name="T5" fmla="*/ 166 h 250"/>
                <a:gd name="T6" fmla="*/ 50 w 134"/>
                <a:gd name="T7" fmla="*/ 207 h 250"/>
                <a:gd name="T8" fmla="*/ 118 w 134"/>
                <a:gd name="T9" fmla="*/ 181 h 250"/>
                <a:gd name="T10" fmla="*/ 117 w 134"/>
                <a:gd name="T11" fmla="*/ 156 h 250"/>
                <a:gd name="T12" fmla="*/ 106 w 134"/>
                <a:gd name="T13" fmla="*/ 108 h 250"/>
                <a:gd name="T14" fmla="*/ 76 w 134"/>
                <a:gd name="T15" fmla="*/ 73 h 250"/>
                <a:gd name="T16" fmla="*/ 68 w 134"/>
                <a:gd name="T17" fmla="*/ 56 h 250"/>
                <a:gd name="T18" fmla="*/ 70 w 134"/>
                <a:gd name="T19" fmla="*/ 23 h 250"/>
                <a:gd name="T20" fmla="*/ 67 w 134"/>
                <a:gd name="T21" fmla="*/ 57 h 250"/>
                <a:gd name="T22" fmla="*/ 79 w 134"/>
                <a:gd name="T23" fmla="*/ 77 h 250"/>
                <a:gd name="T24" fmla="*/ 85 w 134"/>
                <a:gd name="T25" fmla="*/ 81 h 250"/>
                <a:gd name="T26" fmla="*/ 100 w 134"/>
                <a:gd name="T27" fmla="*/ 117 h 250"/>
                <a:gd name="T28" fmla="*/ 100 w 134"/>
                <a:gd name="T29" fmla="*/ 106 h 250"/>
                <a:gd name="T30" fmla="*/ 96 w 134"/>
                <a:gd name="T31" fmla="*/ 103 h 250"/>
                <a:gd name="T32" fmla="*/ 113 w 134"/>
                <a:gd name="T33" fmla="*/ 156 h 250"/>
                <a:gd name="T34" fmla="*/ 116 w 134"/>
                <a:gd name="T35" fmla="*/ 156 h 250"/>
                <a:gd name="T36" fmla="*/ 123 w 134"/>
                <a:gd name="T37" fmla="*/ 159 h 250"/>
                <a:gd name="T38" fmla="*/ 117 w 134"/>
                <a:gd name="T39" fmla="*/ 170 h 250"/>
                <a:gd name="T40" fmla="*/ 131 w 134"/>
                <a:gd name="T41" fmla="*/ 166 h 250"/>
                <a:gd name="T42" fmla="*/ 30 w 134"/>
                <a:gd name="T43" fmla="*/ 166 h 250"/>
                <a:gd name="T44" fmla="*/ 25 w 134"/>
                <a:gd name="T45" fmla="*/ 166 h 250"/>
                <a:gd name="T46" fmla="*/ 35 w 134"/>
                <a:gd name="T47" fmla="*/ 105 h 250"/>
                <a:gd name="T48" fmla="*/ 33 w 134"/>
                <a:gd name="T49" fmla="*/ 87 h 250"/>
                <a:gd name="T50" fmla="*/ 37 w 134"/>
                <a:gd name="T51" fmla="*/ 74 h 250"/>
                <a:gd name="T52" fmla="*/ 42 w 134"/>
                <a:gd name="T53" fmla="*/ 69 h 250"/>
                <a:gd name="T54" fmla="*/ 42 w 134"/>
                <a:gd name="T55" fmla="*/ 60 h 250"/>
                <a:gd name="T56" fmla="*/ 58 w 134"/>
                <a:gd name="T57" fmla="*/ 76 h 250"/>
                <a:gd name="T58" fmla="*/ 60 w 134"/>
                <a:gd name="T59" fmla="*/ 52 h 250"/>
                <a:gd name="T60" fmla="*/ 70 w 134"/>
                <a:gd name="T61" fmla="*/ 68 h 250"/>
                <a:gd name="T62" fmla="*/ 77 w 134"/>
                <a:gd name="T63" fmla="*/ 78 h 250"/>
                <a:gd name="T64" fmla="*/ 74 w 134"/>
                <a:gd name="T65" fmla="*/ 80 h 250"/>
                <a:gd name="T66" fmla="*/ 72 w 134"/>
                <a:gd name="T67" fmla="*/ 88 h 250"/>
                <a:gd name="T68" fmla="*/ 83 w 134"/>
                <a:gd name="T69" fmla="*/ 95 h 250"/>
                <a:gd name="T70" fmla="*/ 87 w 134"/>
                <a:gd name="T71" fmla="*/ 104 h 250"/>
                <a:gd name="T72" fmla="*/ 98 w 134"/>
                <a:gd name="T73" fmla="*/ 119 h 250"/>
                <a:gd name="T74" fmla="*/ 100 w 134"/>
                <a:gd name="T75" fmla="*/ 123 h 250"/>
                <a:gd name="T76" fmla="*/ 105 w 134"/>
                <a:gd name="T77" fmla="*/ 138 h 250"/>
                <a:gd name="T78" fmla="*/ 108 w 134"/>
                <a:gd name="T79" fmla="*/ 148 h 250"/>
                <a:gd name="T80" fmla="*/ 100 w 134"/>
                <a:gd name="T81" fmla="*/ 145 h 250"/>
                <a:gd name="T82" fmla="*/ 105 w 134"/>
                <a:gd name="T83" fmla="*/ 153 h 250"/>
                <a:gd name="T84" fmla="*/ 109 w 134"/>
                <a:gd name="T85" fmla="*/ 163 h 250"/>
                <a:gd name="T86" fmla="*/ 87 w 134"/>
                <a:gd name="T87" fmla="*/ 164 h 250"/>
                <a:gd name="T88" fmla="*/ 103 w 134"/>
                <a:gd name="T89" fmla="*/ 174 h 250"/>
                <a:gd name="T90" fmla="*/ 108 w 134"/>
                <a:gd name="T91" fmla="*/ 182 h 250"/>
                <a:gd name="T92" fmla="*/ 113 w 134"/>
                <a:gd name="T93" fmla="*/ 193 h 250"/>
                <a:gd name="T94" fmla="*/ 92 w 134"/>
                <a:gd name="T95" fmla="*/ 200 h 250"/>
                <a:gd name="T96" fmla="*/ 74 w 134"/>
                <a:gd name="T97" fmla="*/ 233 h 250"/>
                <a:gd name="T98" fmla="*/ 91 w 134"/>
                <a:gd name="T99" fmla="*/ 239 h 250"/>
                <a:gd name="T100" fmla="*/ 88 w 134"/>
                <a:gd name="T101" fmla="*/ 236 h 250"/>
                <a:gd name="T102" fmla="*/ 83 w 134"/>
                <a:gd name="T103" fmla="*/ 227 h 250"/>
                <a:gd name="T104" fmla="*/ 81 w 134"/>
                <a:gd name="T105" fmla="*/ 245 h 250"/>
                <a:gd name="T106" fmla="*/ 58 w 134"/>
                <a:gd name="T107" fmla="*/ 219 h 250"/>
                <a:gd name="T108" fmla="*/ 99 w 134"/>
                <a:gd name="T109" fmla="*/ 207 h 250"/>
                <a:gd name="T110" fmla="*/ 13 w 134"/>
                <a:gd name="T111" fmla="*/ 9 h 250"/>
                <a:gd name="T112" fmla="*/ 48 w 134"/>
                <a:gd name="T113" fmla="*/ 33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4" h="250">
                  <a:moveTo>
                    <a:pt x="0" y="0"/>
                  </a:moveTo>
                  <a:cubicBezTo>
                    <a:pt x="1" y="3"/>
                    <a:pt x="1" y="3"/>
                    <a:pt x="2" y="4"/>
                  </a:cubicBezTo>
                  <a:cubicBezTo>
                    <a:pt x="9" y="16"/>
                    <a:pt x="24" y="31"/>
                    <a:pt x="45" y="43"/>
                  </a:cubicBezTo>
                  <a:cubicBezTo>
                    <a:pt x="45" y="46"/>
                    <a:pt x="45" y="48"/>
                    <a:pt x="45" y="51"/>
                  </a:cubicBezTo>
                  <a:cubicBezTo>
                    <a:pt x="41" y="50"/>
                    <a:pt x="39" y="50"/>
                    <a:pt x="44" y="55"/>
                  </a:cubicBezTo>
                  <a:cubicBezTo>
                    <a:pt x="44" y="56"/>
                    <a:pt x="44" y="58"/>
                    <a:pt x="44" y="59"/>
                  </a:cubicBezTo>
                  <a:cubicBezTo>
                    <a:pt x="42" y="59"/>
                    <a:pt x="39" y="57"/>
                    <a:pt x="40" y="59"/>
                  </a:cubicBezTo>
                  <a:cubicBezTo>
                    <a:pt x="41" y="61"/>
                    <a:pt x="42" y="63"/>
                    <a:pt x="43" y="63"/>
                  </a:cubicBezTo>
                  <a:cubicBezTo>
                    <a:pt x="43" y="64"/>
                    <a:pt x="43" y="65"/>
                    <a:pt x="43" y="66"/>
                  </a:cubicBezTo>
                  <a:cubicBezTo>
                    <a:pt x="42" y="66"/>
                    <a:pt x="40" y="65"/>
                    <a:pt x="40" y="65"/>
                  </a:cubicBezTo>
                  <a:cubicBezTo>
                    <a:pt x="35" y="62"/>
                    <a:pt x="39" y="68"/>
                    <a:pt x="42" y="70"/>
                  </a:cubicBezTo>
                  <a:cubicBezTo>
                    <a:pt x="42" y="70"/>
                    <a:pt x="42" y="70"/>
                    <a:pt x="42" y="71"/>
                  </a:cubicBezTo>
                  <a:cubicBezTo>
                    <a:pt x="42" y="72"/>
                    <a:pt x="41" y="73"/>
                    <a:pt x="41" y="75"/>
                  </a:cubicBezTo>
                  <a:cubicBezTo>
                    <a:pt x="41" y="75"/>
                    <a:pt x="36" y="72"/>
                    <a:pt x="35" y="73"/>
                  </a:cubicBezTo>
                  <a:cubicBezTo>
                    <a:pt x="34" y="74"/>
                    <a:pt x="38" y="78"/>
                    <a:pt x="40" y="80"/>
                  </a:cubicBezTo>
                  <a:cubicBezTo>
                    <a:pt x="39" y="81"/>
                    <a:pt x="39" y="82"/>
                    <a:pt x="39" y="83"/>
                  </a:cubicBezTo>
                  <a:cubicBezTo>
                    <a:pt x="38" y="83"/>
                    <a:pt x="37" y="82"/>
                    <a:pt x="37" y="82"/>
                  </a:cubicBezTo>
                  <a:cubicBezTo>
                    <a:pt x="33" y="88"/>
                    <a:pt x="22" y="86"/>
                    <a:pt x="27" y="95"/>
                  </a:cubicBezTo>
                  <a:cubicBezTo>
                    <a:pt x="28" y="97"/>
                    <a:pt x="31" y="100"/>
                    <a:pt x="32" y="102"/>
                  </a:cubicBezTo>
                  <a:cubicBezTo>
                    <a:pt x="33" y="104"/>
                    <a:pt x="34" y="106"/>
                    <a:pt x="35" y="107"/>
                  </a:cubicBezTo>
                  <a:cubicBezTo>
                    <a:pt x="33" y="134"/>
                    <a:pt x="38" y="160"/>
                    <a:pt x="39" y="166"/>
                  </a:cubicBezTo>
                  <a:cubicBezTo>
                    <a:pt x="39" y="167"/>
                    <a:pt x="39" y="169"/>
                    <a:pt x="40" y="170"/>
                  </a:cubicBezTo>
                  <a:cubicBezTo>
                    <a:pt x="38" y="168"/>
                    <a:pt x="36" y="166"/>
                    <a:pt x="32" y="165"/>
                  </a:cubicBezTo>
                  <a:cubicBezTo>
                    <a:pt x="29" y="164"/>
                    <a:pt x="23" y="164"/>
                    <a:pt x="23" y="164"/>
                  </a:cubicBezTo>
                  <a:cubicBezTo>
                    <a:pt x="23" y="168"/>
                    <a:pt x="30" y="170"/>
                    <a:pt x="34" y="172"/>
                  </a:cubicBezTo>
                  <a:cubicBezTo>
                    <a:pt x="36" y="174"/>
                    <a:pt x="40" y="177"/>
                    <a:pt x="42" y="178"/>
                  </a:cubicBezTo>
                  <a:cubicBezTo>
                    <a:pt x="44" y="185"/>
                    <a:pt x="46" y="193"/>
                    <a:pt x="49" y="201"/>
                  </a:cubicBezTo>
                  <a:cubicBezTo>
                    <a:pt x="48" y="203"/>
                    <a:pt x="48" y="205"/>
                    <a:pt x="50" y="207"/>
                  </a:cubicBezTo>
                  <a:cubicBezTo>
                    <a:pt x="56" y="216"/>
                    <a:pt x="54" y="216"/>
                    <a:pt x="56" y="218"/>
                  </a:cubicBezTo>
                  <a:cubicBezTo>
                    <a:pt x="59" y="222"/>
                    <a:pt x="59" y="225"/>
                    <a:pt x="63" y="229"/>
                  </a:cubicBezTo>
                  <a:cubicBezTo>
                    <a:pt x="70" y="240"/>
                    <a:pt x="76" y="244"/>
                    <a:pt x="77" y="244"/>
                  </a:cubicBezTo>
                  <a:cubicBezTo>
                    <a:pt x="79" y="246"/>
                    <a:pt x="82" y="247"/>
                    <a:pt x="82" y="245"/>
                  </a:cubicBezTo>
                  <a:cubicBezTo>
                    <a:pt x="83" y="246"/>
                    <a:pt x="84" y="248"/>
                    <a:pt x="86" y="249"/>
                  </a:cubicBezTo>
                  <a:cubicBezTo>
                    <a:pt x="88" y="250"/>
                    <a:pt x="91" y="250"/>
                    <a:pt x="92" y="249"/>
                  </a:cubicBezTo>
                  <a:cubicBezTo>
                    <a:pt x="104" y="243"/>
                    <a:pt x="122" y="218"/>
                    <a:pt x="118" y="181"/>
                  </a:cubicBezTo>
                  <a:cubicBezTo>
                    <a:pt x="124" y="178"/>
                    <a:pt x="134" y="169"/>
                    <a:pt x="134" y="166"/>
                  </a:cubicBezTo>
                  <a:cubicBezTo>
                    <a:pt x="134" y="166"/>
                    <a:pt x="132" y="166"/>
                    <a:pt x="133" y="164"/>
                  </a:cubicBezTo>
                  <a:cubicBezTo>
                    <a:pt x="133" y="164"/>
                    <a:pt x="129" y="164"/>
                    <a:pt x="129" y="160"/>
                  </a:cubicBezTo>
                  <a:cubicBezTo>
                    <a:pt x="128" y="160"/>
                    <a:pt x="124" y="160"/>
                    <a:pt x="124" y="158"/>
                  </a:cubicBezTo>
                  <a:cubicBezTo>
                    <a:pt x="124" y="158"/>
                    <a:pt x="122" y="158"/>
                    <a:pt x="121" y="158"/>
                  </a:cubicBezTo>
                  <a:cubicBezTo>
                    <a:pt x="120" y="157"/>
                    <a:pt x="119" y="157"/>
                    <a:pt x="119" y="156"/>
                  </a:cubicBezTo>
                  <a:cubicBezTo>
                    <a:pt x="119" y="156"/>
                    <a:pt x="118" y="156"/>
                    <a:pt x="117" y="156"/>
                  </a:cubicBezTo>
                  <a:cubicBezTo>
                    <a:pt x="116" y="156"/>
                    <a:pt x="117" y="155"/>
                    <a:pt x="116" y="155"/>
                  </a:cubicBezTo>
                  <a:cubicBezTo>
                    <a:pt x="116" y="155"/>
                    <a:pt x="115" y="155"/>
                    <a:pt x="115" y="154"/>
                  </a:cubicBezTo>
                  <a:cubicBezTo>
                    <a:pt x="115" y="154"/>
                    <a:pt x="114" y="153"/>
                    <a:pt x="113" y="152"/>
                  </a:cubicBezTo>
                  <a:cubicBezTo>
                    <a:pt x="110" y="143"/>
                    <a:pt x="106" y="133"/>
                    <a:pt x="103" y="123"/>
                  </a:cubicBezTo>
                  <a:cubicBezTo>
                    <a:pt x="106" y="120"/>
                    <a:pt x="109" y="117"/>
                    <a:pt x="111" y="113"/>
                  </a:cubicBezTo>
                  <a:cubicBezTo>
                    <a:pt x="112" y="112"/>
                    <a:pt x="112" y="111"/>
                    <a:pt x="109" y="109"/>
                  </a:cubicBezTo>
                  <a:cubicBezTo>
                    <a:pt x="108" y="109"/>
                    <a:pt x="107" y="109"/>
                    <a:pt x="106" y="108"/>
                  </a:cubicBezTo>
                  <a:cubicBezTo>
                    <a:pt x="100" y="107"/>
                    <a:pt x="103" y="98"/>
                    <a:pt x="91" y="99"/>
                  </a:cubicBezTo>
                  <a:cubicBezTo>
                    <a:pt x="91" y="98"/>
                    <a:pt x="90" y="96"/>
                    <a:pt x="85" y="88"/>
                  </a:cubicBezTo>
                  <a:cubicBezTo>
                    <a:pt x="85" y="88"/>
                    <a:pt x="89" y="85"/>
                    <a:pt x="87" y="81"/>
                  </a:cubicBezTo>
                  <a:cubicBezTo>
                    <a:pt x="86" y="78"/>
                    <a:pt x="83" y="81"/>
                    <a:pt x="81" y="81"/>
                  </a:cubicBezTo>
                  <a:cubicBezTo>
                    <a:pt x="80" y="80"/>
                    <a:pt x="80" y="79"/>
                    <a:pt x="79" y="78"/>
                  </a:cubicBezTo>
                  <a:cubicBezTo>
                    <a:pt x="81" y="77"/>
                    <a:pt x="83" y="73"/>
                    <a:pt x="80" y="73"/>
                  </a:cubicBezTo>
                  <a:cubicBezTo>
                    <a:pt x="79" y="72"/>
                    <a:pt x="77" y="73"/>
                    <a:pt x="76" y="73"/>
                  </a:cubicBezTo>
                  <a:cubicBezTo>
                    <a:pt x="75" y="72"/>
                    <a:pt x="74" y="70"/>
                    <a:pt x="73" y="69"/>
                  </a:cubicBezTo>
                  <a:cubicBezTo>
                    <a:pt x="74" y="68"/>
                    <a:pt x="74" y="67"/>
                    <a:pt x="74" y="66"/>
                  </a:cubicBezTo>
                  <a:cubicBezTo>
                    <a:pt x="74" y="65"/>
                    <a:pt x="74" y="65"/>
                    <a:pt x="72" y="64"/>
                  </a:cubicBezTo>
                  <a:cubicBezTo>
                    <a:pt x="72" y="64"/>
                    <a:pt x="71" y="65"/>
                    <a:pt x="70" y="64"/>
                  </a:cubicBezTo>
                  <a:cubicBezTo>
                    <a:pt x="69" y="64"/>
                    <a:pt x="69" y="63"/>
                    <a:pt x="69" y="63"/>
                  </a:cubicBezTo>
                  <a:cubicBezTo>
                    <a:pt x="66" y="59"/>
                    <a:pt x="67" y="61"/>
                    <a:pt x="68" y="59"/>
                  </a:cubicBezTo>
                  <a:cubicBezTo>
                    <a:pt x="68" y="59"/>
                    <a:pt x="69" y="57"/>
                    <a:pt x="68" y="56"/>
                  </a:cubicBezTo>
                  <a:cubicBezTo>
                    <a:pt x="67" y="55"/>
                    <a:pt x="65" y="56"/>
                    <a:pt x="64" y="56"/>
                  </a:cubicBezTo>
                  <a:cubicBezTo>
                    <a:pt x="59" y="48"/>
                    <a:pt x="58" y="47"/>
                    <a:pt x="58" y="46"/>
                  </a:cubicBezTo>
                  <a:cubicBezTo>
                    <a:pt x="76" y="41"/>
                    <a:pt x="87" y="26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6" y="18"/>
                    <a:pt x="86" y="18"/>
                  </a:cubicBezTo>
                  <a:cubicBezTo>
                    <a:pt x="85" y="18"/>
                    <a:pt x="84" y="18"/>
                    <a:pt x="81" y="20"/>
                  </a:cubicBezTo>
                  <a:cubicBezTo>
                    <a:pt x="78" y="23"/>
                    <a:pt x="81" y="22"/>
                    <a:pt x="70" y="23"/>
                  </a:cubicBezTo>
                  <a:cubicBezTo>
                    <a:pt x="62" y="24"/>
                    <a:pt x="53" y="26"/>
                    <a:pt x="48" y="28"/>
                  </a:cubicBezTo>
                  <a:cubicBezTo>
                    <a:pt x="40" y="20"/>
                    <a:pt x="24" y="16"/>
                    <a:pt x="14" y="9"/>
                  </a:cubicBezTo>
                  <a:cubicBezTo>
                    <a:pt x="10" y="6"/>
                    <a:pt x="0" y="0"/>
                    <a:pt x="0" y="0"/>
                  </a:cubicBezTo>
                  <a:close/>
                  <a:moveTo>
                    <a:pt x="66" y="59"/>
                  </a:moveTo>
                  <a:cubicBezTo>
                    <a:pt x="66" y="59"/>
                    <a:pt x="65" y="58"/>
                    <a:pt x="64" y="57"/>
                  </a:cubicBezTo>
                  <a:cubicBezTo>
                    <a:pt x="65" y="57"/>
                    <a:pt x="66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6" y="59"/>
                    <a:pt x="66" y="59"/>
                  </a:cubicBezTo>
                  <a:close/>
                  <a:moveTo>
                    <a:pt x="72" y="67"/>
                  </a:moveTo>
                  <a:cubicBezTo>
                    <a:pt x="71" y="67"/>
                    <a:pt x="71" y="66"/>
                    <a:pt x="70" y="65"/>
                  </a:cubicBezTo>
                  <a:cubicBezTo>
                    <a:pt x="71" y="65"/>
                    <a:pt x="71" y="65"/>
                    <a:pt x="72" y="65"/>
                  </a:cubicBezTo>
                  <a:cubicBezTo>
                    <a:pt x="72" y="65"/>
                    <a:pt x="72" y="66"/>
                    <a:pt x="72" y="67"/>
                  </a:cubicBezTo>
                  <a:close/>
                  <a:moveTo>
                    <a:pt x="79" y="77"/>
                  </a:moveTo>
                  <a:cubicBezTo>
                    <a:pt x="78" y="77"/>
                    <a:pt x="77" y="75"/>
                    <a:pt x="77" y="74"/>
                  </a:cubicBezTo>
                  <a:cubicBezTo>
                    <a:pt x="79" y="74"/>
                    <a:pt x="80" y="74"/>
                    <a:pt x="80" y="74"/>
                  </a:cubicBezTo>
                  <a:cubicBezTo>
                    <a:pt x="80" y="75"/>
                    <a:pt x="80" y="76"/>
                    <a:pt x="79" y="77"/>
                  </a:cubicBezTo>
                  <a:close/>
                  <a:moveTo>
                    <a:pt x="84" y="87"/>
                  </a:moveTo>
                  <a:cubicBezTo>
                    <a:pt x="83" y="85"/>
                    <a:pt x="83" y="84"/>
                    <a:pt x="82" y="82"/>
                  </a:cubicBezTo>
                  <a:cubicBezTo>
                    <a:pt x="84" y="82"/>
                    <a:pt x="85" y="82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2"/>
                    <a:pt x="86" y="84"/>
                    <a:pt x="84" y="87"/>
                  </a:cubicBezTo>
                  <a:close/>
                  <a:moveTo>
                    <a:pt x="102" y="122"/>
                  </a:moveTo>
                  <a:cubicBezTo>
                    <a:pt x="102" y="122"/>
                    <a:pt x="102" y="121"/>
                    <a:pt x="101" y="120"/>
                  </a:cubicBezTo>
                  <a:cubicBezTo>
                    <a:pt x="107" y="116"/>
                    <a:pt x="108" y="112"/>
                    <a:pt x="108" y="112"/>
                  </a:cubicBezTo>
                  <a:cubicBezTo>
                    <a:pt x="98" y="122"/>
                    <a:pt x="102" y="118"/>
                    <a:pt x="101" y="119"/>
                  </a:cubicBezTo>
                  <a:cubicBezTo>
                    <a:pt x="101" y="118"/>
                    <a:pt x="100" y="118"/>
                    <a:pt x="100" y="117"/>
                  </a:cubicBezTo>
                  <a:cubicBezTo>
                    <a:pt x="104" y="113"/>
                    <a:pt x="105" y="110"/>
                    <a:pt x="105" y="110"/>
                  </a:cubicBezTo>
                  <a:cubicBezTo>
                    <a:pt x="100" y="115"/>
                    <a:pt x="99" y="116"/>
                    <a:pt x="99" y="116"/>
                  </a:cubicBezTo>
                  <a:cubicBezTo>
                    <a:pt x="99" y="115"/>
                    <a:pt x="99" y="115"/>
                    <a:pt x="99" y="114"/>
                  </a:cubicBezTo>
                  <a:cubicBezTo>
                    <a:pt x="102" y="111"/>
                    <a:pt x="102" y="109"/>
                    <a:pt x="102" y="109"/>
                  </a:cubicBezTo>
                  <a:cubicBezTo>
                    <a:pt x="102" y="109"/>
                    <a:pt x="101" y="109"/>
                    <a:pt x="98" y="113"/>
                  </a:cubicBezTo>
                  <a:cubicBezTo>
                    <a:pt x="98" y="112"/>
                    <a:pt x="97" y="111"/>
                    <a:pt x="97" y="111"/>
                  </a:cubicBezTo>
                  <a:cubicBezTo>
                    <a:pt x="101" y="106"/>
                    <a:pt x="100" y="106"/>
                    <a:pt x="100" y="106"/>
                  </a:cubicBezTo>
                  <a:cubicBezTo>
                    <a:pt x="100" y="106"/>
                    <a:pt x="99" y="106"/>
                    <a:pt x="96" y="109"/>
                  </a:cubicBezTo>
                  <a:cubicBezTo>
                    <a:pt x="96" y="109"/>
                    <a:pt x="96" y="108"/>
                    <a:pt x="96" y="107"/>
                  </a:cubicBezTo>
                  <a:cubicBezTo>
                    <a:pt x="98" y="105"/>
                    <a:pt x="98" y="104"/>
                    <a:pt x="98" y="104"/>
                  </a:cubicBezTo>
                  <a:cubicBezTo>
                    <a:pt x="98" y="104"/>
                    <a:pt x="98" y="105"/>
                    <a:pt x="97" y="105"/>
                  </a:cubicBezTo>
                  <a:cubicBezTo>
                    <a:pt x="96" y="105"/>
                    <a:pt x="96" y="106"/>
                    <a:pt x="95" y="106"/>
                  </a:cubicBezTo>
                  <a:cubicBezTo>
                    <a:pt x="95" y="106"/>
                    <a:pt x="94" y="105"/>
                    <a:pt x="94" y="105"/>
                  </a:cubicBezTo>
                  <a:cubicBezTo>
                    <a:pt x="94" y="104"/>
                    <a:pt x="95" y="103"/>
                    <a:pt x="96" y="103"/>
                  </a:cubicBezTo>
                  <a:cubicBezTo>
                    <a:pt x="96" y="103"/>
                    <a:pt x="96" y="102"/>
                    <a:pt x="96" y="102"/>
                  </a:cubicBezTo>
                  <a:cubicBezTo>
                    <a:pt x="96" y="102"/>
                    <a:pt x="95" y="102"/>
                    <a:pt x="94" y="103"/>
                  </a:cubicBezTo>
                  <a:cubicBezTo>
                    <a:pt x="93" y="102"/>
                    <a:pt x="92" y="101"/>
                    <a:pt x="92" y="100"/>
                  </a:cubicBezTo>
                  <a:cubicBezTo>
                    <a:pt x="100" y="99"/>
                    <a:pt x="99" y="104"/>
                    <a:pt x="102" y="108"/>
                  </a:cubicBezTo>
                  <a:cubicBezTo>
                    <a:pt x="107" y="112"/>
                    <a:pt x="112" y="108"/>
                    <a:pt x="108" y="115"/>
                  </a:cubicBezTo>
                  <a:cubicBezTo>
                    <a:pt x="106" y="117"/>
                    <a:pt x="104" y="120"/>
                    <a:pt x="102" y="122"/>
                  </a:cubicBezTo>
                  <a:close/>
                  <a:moveTo>
                    <a:pt x="113" y="156"/>
                  </a:moveTo>
                  <a:cubicBezTo>
                    <a:pt x="113" y="155"/>
                    <a:pt x="113" y="154"/>
                    <a:pt x="113" y="153"/>
                  </a:cubicBezTo>
                  <a:cubicBezTo>
                    <a:pt x="116" y="156"/>
                    <a:pt x="116" y="155"/>
                    <a:pt x="113" y="156"/>
                  </a:cubicBezTo>
                  <a:close/>
                  <a:moveTo>
                    <a:pt x="118" y="157"/>
                  </a:moveTo>
                  <a:cubicBezTo>
                    <a:pt x="118" y="157"/>
                    <a:pt x="118" y="157"/>
                    <a:pt x="118" y="157"/>
                  </a:cubicBezTo>
                  <a:cubicBezTo>
                    <a:pt x="117" y="158"/>
                    <a:pt x="116" y="159"/>
                    <a:pt x="115" y="160"/>
                  </a:cubicBezTo>
                  <a:cubicBezTo>
                    <a:pt x="114" y="160"/>
                    <a:pt x="114" y="158"/>
                    <a:pt x="114" y="158"/>
                  </a:cubicBezTo>
                  <a:cubicBezTo>
                    <a:pt x="115" y="157"/>
                    <a:pt x="115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7"/>
                    <a:pt x="117" y="157"/>
                    <a:pt x="118" y="157"/>
                  </a:cubicBezTo>
                  <a:close/>
                  <a:moveTo>
                    <a:pt x="123" y="159"/>
                  </a:moveTo>
                  <a:cubicBezTo>
                    <a:pt x="123" y="159"/>
                    <a:pt x="117" y="163"/>
                    <a:pt x="115" y="164"/>
                  </a:cubicBezTo>
                  <a:cubicBezTo>
                    <a:pt x="115" y="163"/>
                    <a:pt x="115" y="163"/>
                    <a:pt x="115" y="162"/>
                  </a:cubicBezTo>
                  <a:cubicBezTo>
                    <a:pt x="118" y="160"/>
                    <a:pt x="118" y="159"/>
                    <a:pt x="119" y="158"/>
                  </a:cubicBezTo>
                  <a:cubicBezTo>
                    <a:pt x="120" y="158"/>
                    <a:pt x="121" y="159"/>
                    <a:pt x="123" y="159"/>
                  </a:cubicBezTo>
                  <a:close/>
                  <a:moveTo>
                    <a:pt x="117" y="170"/>
                  </a:moveTo>
                  <a:cubicBezTo>
                    <a:pt x="116" y="169"/>
                    <a:pt x="116" y="167"/>
                    <a:pt x="116" y="166"/>
                  </a:cubicBezTo>
                  <a:cubicBezTo>
                    <a:pt x="119" y="164"/>
                    <a:pt x="122" y="162"/>
                    <a:pt x="124" y="159"/>
                  </a:cubicBezTo>
                  <a:cubicBezTo>
                    <a:pt x="124" y="159"/>
                    <a:pt x="124" y="159"/>
                    <a:pt x="124" y="159"/>
                  </a:cubicBezTo>
                  <a:cubicBezTo>
                    <a:pt x="124" y="159"/>
                    <a:pt x="124" y="159"/>
                    <a:pt x="124" y="159"/>
                  </a:cubicBezTo>
                  <a:cubicBezTo>
                    <a:pt x="124" y="160"/>
                    <a:pt x="126" y="161"/>
                    <a:pt x="128" y="161"/>
                  </a:cubicBezTo>
                  <a:cubicBezTo>
                    <a:pt x="125" y="164"/>
                    <a:pt x="120" y="168"/>
                    <a:pt x="117" y="170"/>
                  </a:cubicBezTo>
                  <a:close/>
                  <a:moveTo>
                    <a:pt x="131" y="166"/>
                  </a:moveTo>
                  <a:cubicBezTo>
                    <a:pt x="126" y="169"/>
                    <a:pt x="123" y="172"/>
                    <a:pt x="118" y="176"/>
                  </a:cubicBezTo>
                  <a:cubicBezTo>
                    <a:pt x="117" y="174"/>
                    <a:pt x="117" y="173"/>
                    <a:pt x="117" y="172"/>
                  </a:cubicBezTo>
                  <a:cubicBezTo>
                    <a:pt x="121" y="169"/>
                    <a:pt x="126" y="166"/>
                    <a:pt x="128" y="162"/>
                  </a:cubicBezTo>
                  <a:cubicBezTo>
                    <a:pt x="128" y="163"/>
                    <a:pt x="129" y="164"/>
                    <a:pt x="131" y="165"/>
                  </a:cubicBezTo>
                  <a:cubicBezTo>
                    <a:pt x="131" y="165"/>
                    <a:pt x="131" y="165"/>
                    <a:pt x="131" y="166"/>
                  </a:cubicBezTo>
                  <a:cubicBezTo>
                    <a:pt x="131" y="166"/>
                    <a:pt x="131" y="166"/>
                    <a:pt x="131" y="166"/>
                  </a:cubicBezTo>
                  <a:close/>
                  <a:moveTo>
                    <a:pt x="118" y="180"/>
                  </a:moveTo>
                  <a:cubicBezTo>
                    <a:pt x="118" y="179"/>
                    <a:pt x="118" y="178"/>
                    <a:pt x="118" y="177"/>
                  </a:cubicBezTo>
                  <a:cubicBezTo>
                    <a:pt x="123" y="174"/>
                    <a:pt x="127" y="171"/>
                    <a:pt x="131" y="167"/>
                  </a:cubicBezTo>
                  <a:cubicBezTo>
                    <a:pt x="131" y="167"/>
                    <a:pt x="131" y="168"/>
                    <a:pt x="132" y="168"/>
                  </a:cubicBezTo>
                  <a:cubicBezTo>
                    <a:pt x="129" y="171"/>
                    <a:pt x="122" y="177"/>
                    <a:pt x="118" y="180"/>
                  </a:cubicBezTo>
                  <a:close/>
                  <a:moveTo>
                    <a:pt x="41" y="172"/>
                  </a:moveTo>
                  <a:cubicBezTo>
                    <a:pt x="40" y="172"/>
                    <a:pt x="36" y="168"/>
                    <a:pt x="30" y="166"/>
                  </a:cubicBezTo>
                  <a:cubicBezTo>
                    <a:pt x="31" y="167"/>
                    <a:pt x="36" y="169"/>
                    <a:pt x="41" y="173"/>
                  </a:cubicBezTo>
                  <a:cubicBezTo>
                    <a:pt x="41" y="174"/>
                    <a:pt x="41" y="174"/>
                    <a:pt x="41" y="175"/>
                  </a:cubicBezTo>
                  <a:cubicBezTo>
                    <a:pt x="36" y="170"/>
                    <a:pt x="30" y="169"/>
                    <a:pt x="30" y="169"/>
                  </a:cubicBezTo>
                  <a:cubicBezTo>
                    <a:pt x="33" y="170"/>
                    <a:pt x="36" y="172"/>
                    <a:pt x="42" y="175"/>
                  </a:cubicBezTo>
                  <a:cubicBezTo>
                    <a:pt x="42" y="176"/>
                    <a:pt x="42" y="177"/>
                    <a:pt x="42" y="177"/>
                  </a:cubicBezTo>
                  <a:cubicBezTo>
                    <a:pt x="40" y="175"/>
                    <a:pt x="38" y="173"/>
                    <a:pt x="36" y="172"/>
                  </a:cubicBezTo>
                  <a:cubicBezTo>
                    <a:pt x="33" y="170"/>
                    <a:pt x="27" y="168"/>
                    <a:pt x="25" y="166"/>
                  </a:cubicBezTo>
                  <a:cubicBezTo>
                    <a:pt x="25" y="165"/>
                    <a:pt x="25" y="165"/>
                    <a:pt x="25" y="165"/>
                  </a:cubicBezTo>
                  <a:cubicBezTo>
                    <a:pt x="25" y="165"/>
                    <a:pt x="25" y="165"/>
                    <a:pt x="25" y="165"/>
                  </a:cubicBezTo>
                  <a:cubicBezTo>
                    <a:pt x="25" y="165"/>
                    <a:pt x="28" y="165"/>
                    <a:pt x="31" y="166"/>
                  </a:cubicBezTo>
                  <a:cubicBezTo>
                    <a:pt x="35" y="166"/>
                    <a:pt x="40" y="169"/>
                    <a:pt x="41" y="172"/>
                  </a:cubicBezTo>
                  <a:close/>
                  <a:moveTo>
                    <a:pt x="38" y="84"/>
                  </a:moveTo>
                  <a:cubicBezTo>
                    <a:pt x="39" y="84"/>
                    <a:pt x="38" y="84"/>
                    <a:pt x="39" y="84"/>
                  </a:cubicBezTo>
                  <a:cubicBezTo>
                    <a:pt x="37" y="92"/>
                    <a:pt x="36" y="97"/>
                    <a:pt x="35" y="105"/>
                  </a:cubicBezTo>
                  <a:cubicBezTo>
                    <a:pt x="31" y="97"/>
                    <a:pt x="26" y="93"/>
                    <a:pt x="28" y="90"/>
                  </a:cubicBezTo>
                  <a:cubicBezTo>
                    <a:pt x="31" y="95"/>
                    <a:pt x="34" y="99"/>
                    <a:pt x="35" y="100"/>
                  </a:cubicBezTo>
                  <a:cubicBezTo>
                    <a:pt x="33" y="96"/>
                    <a:pt x="33" y="97"/>
                    <a:pt x="29" y="89"/>
                  </a:cubicBezTo>
                  <a:cubicBezTo>
                    <a:pt x="29" y="89"/>
                    <a:pt x="30" y="89"/>
                    <a:pt x="30" y="88"/>
                  </a:cubicBezTo>
                  <a:cubicBezTo>
                    <a:pt x="33" y="93"/>
                    <a:pt x="35" y="95"/>
                    <a:pt x="35" y="95"/>
                  </a:cubicBezTo>
                  <a:cubicBezTo>
                    <a:pt x="35" y="95"/>
                    <a:pt x="34" y="92"/>
                    <a:pt x="31" y="88"/>
                  </a:cubicBezTo>
                  <a:cubicBezTo>
                    <a:pt x="32" y="88"/>
                    <a:pt x="32" y="87"/>
                    <a:pt x="33" y="87"/>
                  </a:cubicBezTo>
                  <a:cubicBezTo>
                    <a:pt x="35" y="91"/>
                    <a:pt x="36" y="93"/>
                    <a:pt x="36" y="93"/>
                  </a:cubicBezTo>
                  <a:cubicBezTo>
                    <a:pt x="36" y="93"/>
                    <a:pt x="35" y="90"/>
                    <a:pt x="34" y="87"/>
                  </a:cubicBezTo>
                  <a:cubicBezTo>
                    <a:pt x="34" y="86"/>
                    <a:pt x="34" y="86"/>
                    <a:pt x="35" y="86"/>
                  </a:cubicBezTo>
                  <a:cubicBezTo>
                    <a:pt x="36" y="87"/>
                    <a:pt x="37" y="88"/>
                    <a:pt x="37" y="88"/>
                  </a:cubicBezTo>
                  <a:cubicBezTo>
                    <a:pt x="37" y="88"/>
                    <a:pt x="36" y="87"/>
                    <a:pt x="35" y="86"/>
                  </a:cubicBezTo>
                  <a:cubicBezTo>
                    <a:pt x="37" y="84"/>
                    <a:pt x="37" y="84"/>
                    <a:pt x="38" y="84"/>
                  </a:cubicBezTo>
                  <a:close/>
                  <a:moveTo>
                    <a:pt x="37" y="74"/>
                  </a:moveTo>
                  <a:cubicBezTo>
                    <a:pt x="37" y="74"/>
                    <a:pt x="39" y="75"/>
                    <a:pt x="41" y="75"/>
                  </a:cubicBezTo>
                  <a:cubicBezTo>
                    <a:pt x="41" y="76"/>
                    <a:pt x="40" y="78"/>
                    <a:pt x="40" y="79"/>
                  </a:cubicBezTo>
                  <a:cubicBezTo>
                    <a:pt x="38" y="76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lose/>
                  <a:moveTo>
                    <a:pt x="43" y="67"/>
                  </a:moveTo>
                  <a:cubicBezTo>
                    <a:pt x="43" y="68"/>
                    <a:pt x="43" y="68"/>
                    <a:pt x="42" y="69"/>
                  </a:cubicBezTo>
                  <a:cubicBezTo>
                    <a:pt x="42" y="69"/>
                    <a:pt x="41" y="68"/>
                    <a:pt x="40" y="66"/>
                  </a:cubicBezTo>
                  <a:cubicBezTo>
                    <a:pt x="40" y="66"/>
                    <a:pt x="39" y="66"/>
                    <a:pt x="39" y="66"/>
                  </a:cubicBezTo>
                  <a:cubicBezTo>
                    <a:pt x="40" y="66"/>
                    <a:pt x="41" y="66"/>
                    <a:pt x="43" y="67"/>
                  </a:cubicBezTo>
                  <a:close/>
                  <a:moveTo>
                    <a:pt x="44" y="60"/>
                  </a:moveTo>
                  <a:cubicBezTo>
                    <a:pt x="44" y="61"/>
                    <a:pt x="44" y="62"/>
                    <a:pt x="43" y="62"/>
                  </a:cubicBezTo>
                  <a:cubicBezTo>
                    <a:pt x="43" y="61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3" y="60"/>
                    <a:pt x="44" y="60"/>
                  </a:cubicBezTo>
                  <a:close/>
                  <a:moveTo>
                    <a:pt x="45" y="52"/>
                  </a:moveTo>
                  <a:cubicBezTo>
                    <a:pt x="45" y="53"/>
                    <a:pt x="45" y="54"/>
                    <a:pt x="45" y="54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5" y="52"/>
                    <a:pt x="45" y="52"/>
                    <a:pt x="45" y="52"/>
                  </a:cubicBezTo>
                  <a:close/>
                  <a:moveTo>
                    <a:pt x="49" y="36"/>
                  </a:moveTo>
                  <a:cubicBezTo>
                    <a:pt x="53" y="51"/>
                    <a:pt x="56" y="62"/>
                    <a:pt x="58" y="76"/>
                  </a:cubicBezTo>
                  <a:cubicBezTo>
                    <a:pt x="59" y="78"/>
                    <a:pt x="59" y="79"/>
                    <a:pt x="59" y="79"/>
                  </a:cubicBezTo>
                  <a:cubicBezTo>
                    <a:pt x="59" y="79"/>
                    <a:pt x="59" y="78"/>
                    <a:pt x="59" y="76"/>
                  </a:cubicBezTo>
                  <a:cubicBezTo>
                    <a:pt x="58" y="64"/>
                    <a:pt x="55" y="48"/>
                    <a:pt x="51" y="35"/>
                  </a:cubicBezTo>
                  <a:cubicBezTo>
                    <a:pt x="52" y="37"/>
                    <a:pt x="54" y="42"/>
                    <a:pt x="55" y="44"/>
                  </a:cubicBezTo>
                  <a:cubicBezTo>
                    <a:pt x="56" y="46"/>
                    <a:pt x="57" y="47"/>
                    <a:pt x="57" y="49"/>
                  </a:cubicBezTo>
                  <a:cubicBezTo>
                    <a:pt x="57" y="49"/>
                    <a:pt x="57" y="49"/>
                    <a:pt x="56" y="50"/>
                  </a:cubicBezTo>
                  <a:cubicBezTo>
                    <a:pt x="56" y="51"/>
                    <a:pt x="59" y="52"/>
                    <a:pt x="60" y="52"/>
                  </a:cubicBezTo>
                  <a:cubicBezTo>
                    <a:pt x="62" y="54"/>
                    <a:pt x="63" y="56"/>
                    <a:pt x="63" y="57"/>
                  </a:cubicBezTo>
                  <a:cubicBezTo>
                    <a:pt x="63" y="59"/>
                    <a:pt x="63" y="58"/>
                    <a:pt x="61" y="58"/>
                  </a:cubicBezTo>
                  <a:cubicBezTo>
                    <a:pt x="60" y="57"/>
                    <a:pt x="57" y="57"/>
                    <a:pt x="60" y="58"/>
                  </a:cubicBezTo>
                  <a:cubicBezTo>
                    <a:pt x="62" y="59"/>
                    <a:pt x="64" y="60"/>
                    <a:pt x="66" y="61"/>
                  </a:cubicBezTo>
                  <a:cubicBezTo>
                    <a:pt x="67" y="62"/>
                    <a:pt x="69" y="64"/>
                    <a:pt x="69" y="65"/>
                  </a:cubicBezTo>
                  <a:cubicBezTo>
                    <a:pt x="69" y="67"/>
                    <a:pt x="62" y="63"/>
                    <a:pt x="60" y="65"/>
                  </a:cubicBezTo>
                  <a:cubicBezTo>
                    <a:pt x="62" y="66"/>
                    <a:pt x="66" y="65"/>
                    <a:pt x="70" y="68"/>
                  </a:cubicBezTo>
                  <a:cubicBezTo>
                    <a:pt x="73" y="70"/>
                    <a:pt x="72" y="72"/>
                    <a:pt x="74" y="73"/>
                  </a:cubicBezTo>
                  <a:cubicBezTo>
                    <a:pt x="73" y="72"/>
                    <a:pt x="69" y="71"/>
                    <a:pt x="67" y="71"/>
                  </a:cubicBezTo>
                  <a:cubicBezTo>
                    <a:pt x="64" y="71"/>
                    <a:pt x="61" y="71"/>
                    <a:pt x="60" y="72"/>
                  </a:cubicBezTo>
                  <a:cubicBezTo>
                    <a:pt x="61" y="72"/>
                    <a:pt x="61" y="72"/>
                    <a:pt x="62" y="72"/>
                  </a:cubicBezTo>
                  <a:cubicBezTo>
                    <a:pt x="63" y="72"/>
                    <a:pt x="63" y="72"/>
                    <a:pt x="64" y="72"/>
                  </a:cubicBezTo>
                  <a:cubicBezTo>
                    <a:pt x="67" y="72"/>
                    <a:pt x="71" y="73"/>
                    <a:pt x="73" y="74"/>
                  </a:cubicBezTo>
                  <a:cubicBezTo>
                    <a:pt x="76" y="75"/>
                    <a:pt x="77" y="76"/>
                    <a:pt x="77" y="78"/>
                  </a:cubicBezTo>
                  <a:cubicBezTo>
                    <a:pt x="77" y="79"/>
                    <a:pt x="77" y="79"/>
                    <a:pt x="75" y="79"/>
                  </a:cubicBezTo>
                  <a:cubicBezTo>
                    <a:pt x="71" y="78"/>
                    <a:pt x="69" y="75"/>
                    <a:pt x="61" y="77"/>
                  </a:cubicBezTo>
                  <a:cubicBezTo>
                    <a:pt x="61" y="77"/>
                    <a:pt x="60" y="77"/>
                    <a:pt x="60" y="77"/>
                  </a:cubicBezTo>
                  <a:cubicBezTo>
                    <a:pt x="60" y="78"/>
                    <a:pt x="60" y="77"/>
                    <a:pt x="60" y="78"/>
                  </a:cubicBezTo>
                  <a:cubicBezTo>
                    <a:pt x="61" y="78"/>
                    <a:pt x="62" y="78"/>
                    <a:pt x="62" y="78"/>
                  </a:cubicBezTo>
                  <a:cubicBezTo>
                    <a:pt x="64" y="78"/>
                    <a:pt x="65" y="78"/>
                    <a:pt x="66" y="78"/>
                  </a:cubicBezTo>
                  <a:cubicBezTo>
                    <a:pt x="69" y="78"/>
                    <a:pt x="71" y="79"/>
                    <a:pt x="74" y="80"/>
                  </a:cubicBezTo>
                  <a:cubicBezTo>
                    <a:pt x="79" y="81"/>
                    <a:pt x="78" y="80"/>
                    <a:pt x="83" y="88"/>
                  </a:cubicBezTo>
                  <a:cubicBezTo>
                    <a:pt x="82" y="87"/>
                    <a:pt x="78" y="86"/>
                    <a:pt x="77" y="86"/>
                  </a:cubicBezTo>
                  <a:cubicBezTo>
                    <a:pt x="73" y="85"/>
                    <a:pt x="73" y="86"/>
                    <a:pt x="69" y="86"/>
                  </a:cubicBezTo>
                  <a:cubicBezTo>
                    <a:pt x="67" y="86"/>
                    <a:pt x="66" y="85"/>
                    <a:pt x="64" y="86"/>
                  </a:cubicBezTo>
                  <a:cubicBezTo>
                    <a:pt x="64" y="86"/>
                    <a:pt x="62" y="86"/>
                    <a:pt x="63" y="87"/>
                  </a:cubicBezTo>
                  <a:cubicBezTo>
                    <a:pt x="63" y="87"/>
                    <a:pt x="66" y="87"/>
                    <a:pt x="66" y="86"/>
                  </a:cubicBezTo>
                  <a:cubicBezTo>
                    <a:pt x="67" y="86"/>
                    <a:pt x="70" y="88"/>
                    <a:pt x="72" y="88"/>
                  </a:cubicBezTo>
                  <a:cubicBezTo>
                    <a:pt x="73" y="88"/>
                    <a:pt x="78" y="86"/>
                    <a:pt x="82" y="89"/>
                  </a:cubicBezTo>
                  <a:cubicBezTo>
                    <a:pt x="86" y="91"/>
                    <a:pt x="86" y="93"/>
                    <a:pt x="87" y="96"/>
                  </a:cubicBezTo>
                  <a:cubicBezTo>
                    <a:pt x="86" y="94"/>
                    <a:pt x="75" y="92"/>
                    <a:pt x="73" y="92"/>
                  </a:cubicBezTo>
                  <a:cubicBezTo>
                    <a:pt x="71" y="93"/>
                    <a:pt x="71" y="94"/>
                    <a:pt x="69" y="94"/>
                  </a:cubicBezTo>
                  <a:cubicBezTo>
                    <a:pt x="67" y="94"/>
                    <a:pt x="65" y="93"/>
                    <a:pt x="66" y="95"/>
                  </a:cubicBezTo>
                  <a:cubicBezTo>
                    <a:pt x="69" y="96"/>
                    <a:pt x="72" y="93"/>
                    <a:pt x="75" y="93"/>
                  </a:cubicBezTo>
                  <a:cubicBezTo>
                    <a:pt x="78" y="93"/>
                    <a:pt x="79" y="94"/>
                    <a:pt x="83" y="95"/>
                  </a:cubicBezTo>
                  <a:cubicBezTo>
                    <a:pt x="86" y="96"/>
                    <a:pt x="88" y="97"/>
                    <a:pt x="89" y="99"/>
                  </a:cubicBezTo>
                  <a:cubicBezTo>
                    <a:pt x="89" y="100"/>
                    <a:pt x="90" y="103"/>
                    <a:pt x="91" y="104"/>
                  </a:cubicBezTo>
                  <a:cubicBezTo>
                    <a:pt x="86" y="101"/>
                    <a:pt x="84" y="103"/>
                    <a:pt x="78" y="103"/>
                  </a:cubicBezTo>
                  <a:cubicBezTo>
                    <a:pt x="76" y="103"/>
                    <a:pt x="72" y="101"/>
                    <a:pt x="70" y="101"/>
                  </a:cubicBezTo>
                  <a:cubicBezTo>
                    <a:pt x="66" y="101"/>
                    <a:pt x="68" y="104"/>
                    <a:pt x="72" y="103"/>
                  </a:cubicBezTo>
                  <a:cubicBezTo>
                    <a:pt x="73" y="102"/>
                    <a:pt x="77" y="104"/>
                    <a:pt x="79" y="104"/>
                  </a:cubicBezTo>
                  <a:cubicBezTo>
                    <a:pt x="83" y="105"/>
                    <a:pt x="84" y="102"/>
                    <a:pt x="87" y="104"/>
                  </a:cubicBezTo>
                  <a:cubicBezTo>
                    <a:pt x="89" y="104"/>
                    <a:pt x="90" y="105"/>
                    <a:pt x="92" y="106"/>
                  </a:cubicBezTo>
                  <a:cubicBezTo>
                    <a:pt x="94" y="108"/>
                    <a:pt x="94" y="110"/>
                    <a:pt x="95" y="112"/>
                  </a:cubicBezTo>
                  <a:cubicBezTo>
                    <a:pt x="94" y="112"/>
                    <a:pt x="92" y="111"/>
                    <a:pt x="91" y="111"/>
                  </a:cubicBezTo>
                  <a:cubicBezTo>
                    <a:pt x="82" y="108"/>
                    <a:pt x="80" y="111"/>
                    <a:pt x="74" y="110"/>
                  </a:cubicBezTo>
                  <a:cubicBezTo>
                    <a:pt x="72" y="110"/>
                    <a:pt x="71" y="110"/>
                    <a:pt x="70" y="109"/>
                  </a:cubicBezTo>
                  <a:cubicBezTo>
                    <a:pt x="74" y="113"/>
                    <a:pt x="80" y="110"/>
                    <a:pt x="88" y="112"/>
                  </a:cubicBezTo>
                  <a:cubicBezTo>
                    <a:pt x="95" y="113"/>
                    <a:pt x="98" y="115"/>
                    <a:pt x="98" y="119"/>
                  </a:cubicBezTo>
                  <a:cubicBezTo>
                    <a:pt x="98" y="119"/>
                    <a:pt x="91" y="116"/>
                    <a:pt x="84" y="118"/>
                  </a:cubicBezTo>
                  <a:cubicBezTo>
                    <a:pt x="83" y="118"/>
                    <a:pt x="82" y="119"/>
                    <a:pt x="81" y="119"/>
                  </a:cubicBezTo>
                  <a:cubicBezTo>
                    <a:pt x="80" y="119"/>
                    <a:pt x="79" y="119"/>
                    <a:pt x="78" y="119"/>
                  </a:cubicBezTo>
                  <a:cubicBezTo>
                    <a:pt x="76" y="118"/>
                    <a:pt x="73" y="118"/>
                    <a:pt x="73" y="120"/>
                  </a:cubicBezTo>
                  <a:cubicBezTo>
                    <a:pt x="77" y="119"/>
                    <a:pt x="76" y="120"/>
                    <a:pt x="81" y="120"/>
                  </a:cubicBezTo>
                  <a:cubicBezTo>
                    <a:pt x="86" y="120"/>
                    <a:pt x="87" y="119"/>
                    <a:pt x="90" y="119"/>
                  </a:cubicBezTo>
                  <a:cubicBezTo>
                    <a:pt x="93" y="119"/>
                    <a:pt x="98" y="121"/>
                    <a:pt x="100" y="123"/>
                  </a:cubicBezTo>
                  <a:cubicBezTo>
                    <a:pt x="101" y="125"/>
                    <a:pt x="101" y="127"/>
                    <a:pt x="102" y="129"/>
                  </a:cubicBezTo>
                  <a:cubicBezTo>
                    <a:pt x="99" y="126"/>
                    <a:pt x="91" y="123"/>
                    <a:pt x="86" y="125"/>
                  </a:cubicBezTo>
                  <a:cubicBezTo>
                    <a:pt x="78" y="127"/>
                    <a:pt x="77" y="124"/>
                    <a:pt x="75" y="125"/>
                  </a:cubicBezTo>
                  <a:cubicBezTo>
                    <a:pt x="81" y="128"/>
                    <a:pt x="86" y="126"/>
                    <a:pt x="89" y="126"/>
                  </a:cubicBezTo>
                  <a:cubicBezTo>
                    <a:pt x="90" y="126"/>
                    <a:pt x="92" y="127"/>
                    <a:pt x="94" y="127"/>
                  </a:cubicBezTo>
                  <a:cubicBezTo>
                    <a:pt x="97" y="128"/>
                    <a:pt x="102" y="130"/>
                    <a:pt x="103" y="131"/>
                  </a:cubicBezTo>
                  <a:cubicBezTo>
                    <a:pt x="104" y="133"/>
                    <a:pt x="104" y="136"/>
                    <a:pt x="105" y="138"/>
                  </a:cubicBezTo>
                  <a:cubicBezTo>
                    <a:pt x="102" y="135"/>
                    <a:pt x="98" y="133"/>
                    <a:pt x="95" y="133"/>
                  </a:cubicBezTo>
                  <a:cubicBezTo>
                    <a:pt x="91" y="134"/>
                    <a:pt x="92" y="137"/>
                    <a:pt x="83" y="135"/>
                  </a:cubicBezTo>
                  <a:cubicBezTo>
                    <a:pt x="82" y="135"/>
                    <a:pt x="75" y="134"/>
                    <a:pt x="77" y="135"/>
                  </a:cubicBezTo>
                  <a:cubicBezTo>
                    <a:pt x="80" y="136"/>
                    <a:pt x="88" y="137"/>
                    <a:pt x="89" y="137"/>
                  </a:cubicBezTo>
                  <a:cubicBezTo>
                    <a:pt x="95" y="137"/>
                    <a:pt x="95" y="134"/>
                    <a:pt x="99" y="136"/>
                  </a:cubicBezTo>
                  <a:cubicBezTo>
                    <a:pt x="102" y="137"/>
                    <a:pt x="105" y="140"/>
                    <a:pt x="107" y="142"/>
                  </a:cubicBezTo>
                  <a:cubicBezTo>
                    <a:pt x="107" y="144"/>
                    <a:pt x="108" y="146"/>
                    <a:pt x="108" y="148"/>
                  </a:cubicBezTo>
                  <a:cubicBezTo>
                    <a:pt x="106" y="145"/>
                    <a:pt x="100" y="142"/>
                    <a:pt x="96" y="143"/>
                  </a:cubicBezTo>
                  <a:cubicBezTo>
                    <a:pt x="93" y="144"/>
                    <a:pt x="91" y="145"/>
                    <a:pt x="87" y="143"/>
                  </a:cubicBezTo>
                  <a:cubicBezTo>
                    <a:pt x="85" y="142"/>
                    <a:pt x="83" y="142"/>
                    <a:pt x="81" y="142"/>
                  </a:cubicBezTo>
                  <a:cubicBezTo>
                    <a:pt x="79" y="141"/>
                    <a:pt x="77" y="143"/>
                    <a:pt x="78" y="143"/>
                  </a:cubicBezTo>
                  <a:cubicBezTo>
                    <a:pt x="79" y="143"/>
                    <a:pt x="81" y="142"/>
                    <a:pt x="86" y="144"/>
                  </a:cubicBezTo>
                  <a:cubicBezTo>
                    <a:pt x="88" y="145"/>
                    <a:pt x="90" y="146"/>
                    <a:pt x="92" y="146"/>
                  </a:cubicBezTo>
                  <a:cubicBezTo>
                    <a:pt x="95" y="146"/>
                    <a:pt x="96" y="144"/>
                    <a:pt x="100" y="145"/>
                  </a:cubicBezTo>
                  <a:cubicBezTo>
                    <a:pt x="104" y="146"/>
                    <a:pt x="109" y="150"/>
                    <a:pt x="109" y="150"/>
                  </a:cubicBezTo>
                  <a:cubicBezTo>
                    <a:pt x="110" y="152"/>
                    <a:pt x="110" y="154"/>
                    <a:pt x="110" y="155"/>
                  </a:cubicBezTo>
                  <a:cubicBezTo>
                    <a:pt x="108" y="153"/>
                    <a:pt x="104" y="151"/>
                    <a:pt x="100" y="151"/>
                  </a:cubicBezTo>
                  <a:cubicBezTo>
                    <a:pt x="97" y="150"/>
                    <a:pt x="94" y="152"/>
                    <a:pt x="90" y="151"/>
                  </a:cubicBezTo>
                  <a:cubicBezTo>
                    <a:pt x="87" y="150"/>
                    <a:pt x="84" y="149"/>
                    <a:pt x="81" y="149"/>
                  </a:cubicBezTo>
                  <a:cubicBezTo>
                    <a:pt x="82" y="151"/>
                    <a:pt x="92" y="152"/>
                    <a:pt x="94" y="152"/>
                  </a:cubicBezTo>
                  <a:cubicBezTo>
                    <a:pt x="98" y="153"/>
                    <a:pt x="101" y="151"/>
                    <a:pt x="105" y="153"/>
                  </a:cubicBezTo>
                  <a:cubicBezTo>
                    <a:pt x="106" y="154"/>
                    <a:pt x="111" y="157"/>
                    <a:pt x="111" y="157"/>
                  </a:cubicBezTo>
                  <a:cubicBezTo>
                    <a:pt x="111" y="158"/>
                    <a:pt x="112" y="160"/>
                    <a:pt x="113" y="163"/>
                  </a:cubicBezTo>
                  <a:cubicBezTo>
                    <a:pt x="109" y="160"/>
                    <a:pt x="102" y="158"/>
                    <a:pt x="97" y="158"/>
                  </a:cubicBezTo>
                  <a:cubicBezTo>
                    <a:pt x="94" y="158"/>
                    <a:pt x="91" y="158"/>
                    <a:pt x="88" y="157"/>
                  </a:cubicBezTo>
                  <a:cubicBezTo>
                    <a:pt x="85" y="156"/>
                    <a:pt x="83" y="155"/>
                    <a:pt x="81" y="153"/>
                  </a:cubicBezTo>
                  <a:cubicBezTo>
                    <a:pt x="79" y="154"/>
                    <a:pt x="83" y="156"/>
                    <a:pt x="84" y="157"/>
                  </a:cubicBezTo>
                  <a:cubicBezTo>
                    <a:pt x="91" y="160"/>
                    <a:pt x="99" y="157"/>
                    <a:pt x="109" y="163"/>
                  </a:cubicBezTo>
                  <a:cubicBezTo>
                    <a:pt x="109" y="163"/>
                    <a:pt x="110" y="163"/>
                    <a:pt x="111" y="164"/>
                  </a:cubicBezTo>
                  <a:cubicBezTo>
                    <a:pt x="112" y="164"/>
                    <a:pt x="113" y="165"/>
                    <a:pt x="113" y="165"/>
                  </a:cubicBezTo>
                  <a:cubicBezTo>
                    <a:pt x="113" y="167"/>
                    <a:pt x="113" y="168"/>
                    <a:pt x="114" y="169"/>
                  </a:cubicBezTo>
                  <a:cubicBezTo>
                    <a:pt x="113" y="168"/>
                    <a:pt x="104" y="165"/>
                    <a:pt x="102" y="165"/>
                  </a:cubicBezTo>
                  <a:cubicBezTo>
                    <a:pt x="96" y="163"/>
                    <a:pt x="94" y="165"/>
                    <a:pt x="88" y="163"/>
                  </a:cubicBezTo>
                  <a:cubicBezTo>
                    <a:pt x="87" y="163"/>
                    <a:pt x="84" y="162"/>
                    <a:pt x="84" y="162"/>
                  </a:cubicBezTo>
                  <a:cubicBezTo>
                    <a:pt x="84" y="163"/>
                    <a:pt x="86" y="164"/>
                    <a:pt x="87" y="164"/>
                  </a:cubicBezTo>
                  <a:cubicBezTo>
                    <a:pt x="95" y="168"/>
                    <a:pt x="103" y="162"/>
                    <a:pt x="114" y="171"/>
                  </a:cubicBezTo>
                  <a:cubicBezTo>
                    <a:pt x="114" y="173"/>
                    <a:pt x="115" y="174"/>
                    <a:pt x="115" y="178"/>
                  </a:cubicBezTo>
                  <a:cubicBezTo>
                    <a:pt x="115" y="176"/>
                    <a:pt x="106" y="173"/>
                    <a:pt x="104" y="173"/>
                  </a:cubicBezTo>
                  <a:cubicBezTo>
                    <a:pt x="99" y="171"/>
                    <a:pt x="96" y="173"/>
                    <a:pt x="92" y="172"/>
                  </a:cubicBezTo>
                  <a:cubicBezTo>
                    <a:pt x="90" y="171"/>
                    <a:pt x="88" y="170"/>
                    <a:pt x="86" y="170"/>
                  </a:cubicBezTo>
                  <a:cubicBezTo>
                    <a:pt x="88" y="172"/>
                    <a:pt x="92" y="173"/>
                    <a:pt x="94" y="174"/>
                  </a:cubicBezTo>
                  <a:cubicBezTo>
                    <a:pt x="97" y="174"/>
                    <a:pt x="100" y="174"/>
                    <a:pt x="103" y="174"/>
                  </a:cubicBezTo>
                  <a:cubicBezTo>
                    <a:pt x="106" y="175"/>
                    <a:pt x="115" y="178"/>
                    <a:pt x="115" y="180"/>
                  </a:cubicBezTo>
                  <a:cubicBezTo>
                    <a:pt x="115" y="182"/>
                    <a:pt x="116" y="183"/>
                    <a:pt x="116" y="185"/>
                  </a:cubicBezTo>
                  <a:cubicBezTo>
                    <a:pt x="116" y="184"/>
                    <a:pt x="110" y="182"/>
                    <a:pt x="109" y="181"/>
                  </a:cubicBezTo>
                  <a:cubicBezTo>
                    <a:pt x="103" y="178"/>
                    <a:pt x="98" y="179"/>
                    <a:pt x="95" y="179"/>
                  </a:cubicBezTo>
                  <a:cubicBezTo>
                    <a:pt x="93" y="178"/>
                    <a:pt x="90" y="177"/>
                    <a:pt x="89" y="177"/>
                  </a:cubicBezTo>
                  <a:cubicBezTo>
                    <a:pt x="90" y="177"/>
                    <a:pt x="90" y="178"/>
                    <a:pt x="91" y="178"/>
                  </a:cubicBezTo>
                  <a:cubicBezTo>
                    <a:pt x="96" y="181"/>
                    <a:pt x="100" y="179"/>
                    <a:pt x="108" y="182"/>
                  </a:cubicBezTo>
                  <a:cubicBezTo>
                    <a:pt x="111" y="184"/>
                    <a:pt x="113" y="185"/>
                    <a:pt x="116" y="187"/>
                  </a:cubicBezTo>
                  <a:cubicBezTo>
                    <a:pt x="118" y="188"/>
                    <a:pt x="116" y="193"/>
                    <a:pt x="116" y="194"/>
                  </a:cubicBezTo>
                  <a:cubicBezTo>
                    <a:pt x="116" y="193"/>
                    <a:pt x="110" y="188"/>
                    <a:pt x="102" y="187"/>
                  </a:cubicBezTo>
                  <a:cubicBezTo>
                    <a:pt x="100" y="186"/>
                    <a:pt x="96" y="187"/>
                    <a:pt x="93" y="186"/>
                  </a:cubicBezTo>
                  <a:cubicBezTo>
                    <a:pt x="93" y="185"/>
                    <a:pt x="92" y="185"/>
                    <a:pt x="91" y="185"/>
                  </a:cubicBezTo>
                  <a:cubicBezTo>
                    <a:pt x="93" y="187"/>
                    <a:pt x="96" y="187"/>
                    <a:pt x="99" y="188"/>
                  </a:cubicBezTo>
                  <a:cubicBezTo>
                    <a:pt x="103" y="188"/>
                    <a:pt x="110" y="190"/>
                    <a:pt x="113" y="193"/>
                  </a:cubicBezTo>
                  <a:cubicBezTo>
                    <a:pt x="118" y="198"/>
                    <a:pt x="116" y="200"/>
                    <a:pt x="115" y="203"/>
                  </a:cubicBezTo>
                  <a:cubicBezTo>
                    <a:pt x="115" y="202"/>
                    <a:pt x="110" y="195"/>
                    <a:pt x="94" y="193"/>
                  </a:cubicBezTo>
                  <a:cubicBezTo>
                    <a:pt x="98" y="195"/>
                    <a:pt x="103" y="196"/>
                    <a:pt x="106" y="198"/>
                  </a:cubicBezTo>
                  <a:cubicBezTo>
                    <a:pt x="110" y="200"/>
                    <a:pt x="112" y="203"/>
                    <a:pt x="115" y="206"/>
                  </a:cubicBezTo>
                  <a:cubicBezTo>
                    <a:pt x="116" y="207"/>
                    <a:pt x="114" y="210"/>
                    <a:pt x="114" y="210"/>
                  </a:cubicBezTo>
                  <a:cubicBezTo>
                    <a:pt x="114" y="211"/>
                    <a:pt x="114" y="212"/>
                    <a:pt x="114" y="212"/>
                  </a:cubicBezTo>
                  <a:cubicBezTo>
                    <a:pt x="111" y="209"/>
                    <a:pt x="104" y="204"/>
                    <a:pt x="92" y="200"/>
                  </a:cubicBezTo>
                  <a:cubicBezTo>
                    <a:pt x="98" y="203"/>
                    <a:pt x="105" y="206"/>
                    <a:pt x="111" y="212"/>
                  </a:cubicBezTo>
                  <a:cubicBezTo>
                    <a:pt x="111" y="212"/>
                    <a:pt x="112" y="213"/>
                    <a:pt x="112" y="213"/>
                  </a:cubicBezTo>
                  <a:cubicBezTo>
                    <a:pt x="113" y="213"/>
                    <a:pt x="113" y="214"/>
                    <a:pt x="113" y="214"/>
                  </a:cubicBezTo>
                  <a:cubicBezTo>
                    <a:pt x="108" y="233"/>
                    <a:pt x="99" y="240"/>
                    <a:pt x="96" y="243"/>
                  </a:cubicBezTo>
                  <a:cubicBezTo>
                    <a:pt x="95" y="244"/>
                    <a:pt x="91" y="250"/>
                    <a:pt x="86" y="248"/>
                  </a:cubicBezTo>
                  <a:cubicBezTo>
                    <a:pt x="84" y="247"/>
                    <a:pt x="83" y="244"/>
                    <a:pt x="82" y="243"/>
                  </a:cubicBezTo>
                  <a:cubicBezTo>
                    <a:pt x="80" y="239"/>
                    <a:pt x="77" y="236"/>
                    <a:pt x="74" y="233"/>
                  </a:cubicBezTo>
                  <a:cubicBezTo>
                    <a:pt x="72" y="231"/>
                    <a:pt x="69" y="228"/>
                    <a:pt x="69" y="227"/>
                  </a:cubicBezTo>
                  <a:cubicBezTo>
                    <a:pt x="69" y="224"/>
                    <a:pt x="74" y="226"/>
                    <a:pt x="76" y="228"/>
                  </a:cubicBezTo>
                  <a:cubicBezTo>
                    <a:pt x="79" y="231"/>
                    <a:pt x="81" y="233"/>
                    <a:pt x="83" y="236"/>
                  </a:cubicBezTo>
                  <a:cubicBezTo>
                    <a:pt x="85" y="238"/>
                    <a:pt x="87" y="240"/>
                    <a:pt x="90" y="241"/>
                  </a:cubicBezTo>
                  <a:cubicBezTo>
                    <a:pt x="86" y="239"/>
                    <a:pt x="84" y="235"/>
                    <a:pt x="83" y="233"/>
                  </a:cubicBezTo>
                  <a:cubicBezTo>
                    <a:pt x="84" y="235"/>
                    <a:pt x="85" y="236"/>
                    <a:pt x="87" y="237"/>
                  </a:cubicBezTo>
                  <a:cubicBezTo>
                    <a:pt x="89" y="238"/>
                    <a:pt x="90" y="238"/>
                    <a:pt x="91" y="239"/>
                  </a:cubicBezTo>
                  <a:cubicBezTo>
                    <a:pt x="94" y="239"/>
                    <a:pt x="96" y="239"/>
                    <a:pt x="97" y="239"/>
                  </a:cubicBezTo>
                  <a:cubicBezTo>
                    <a:pt x="98" y="239"/>
                    <a:pt x="98" y="239"/>
                    <a:pt x="99" y="238"/>
                  </a:cubicBezTo>
                  <a:cubicBezTo>
                    <a:pt x="99" y="238"/>
                    <a:pt x="99" y="238"/>
                    <a:pt x="99" y="238"/>
                  </a:cubicBezTo>
                  <a:cubicBezTo>
                    <a:pt x="99" y="238"/>
                    <a:pt x="99" y="238"/>
                    <a:pt x="98" y="238"/>
                  </a:cubicBezTo>
                  <a:cubicBezTo>
                    <a:pt x="98" y="238"/>
                    <a:pt x="97" y="239"/>
                    <a:pt x="96" y="239"/>
                  </a:cubicBezTo>
                  <a:cubicBezTo>
                    <a:pt x="95" y="239"/>
                    <a:pt x="94" y="239"/>
                    <a:pt x="92" y="238"/>
                  </a:cubicBezTo>
                  <a:cubicBezTo>
                    <a:pt x="91" y="237"/>
                    <a:pt x="90" y="237"/>
                    <a:pt x="88" y="236"/>
                  </a:cubicBezTo>
                  <a:cubicBezTo>
                    <a:pt x="87" y="236"/>
                    <a:pt x="86" y="235"/>
                    <a:pt x="85" y="234"/>
                  </a:cubicBezTo>
                  <a:cubicBezTo>
                    <a:pt x="84" y="232"/>
                    <a:pt x="83" y="231"/>
                    <a:pt x="83" y="230"/>
                  </a:cubicBezTo>
                  <a:cubicBezTo>
                    <a:pt x="83" y="229"/>
                    <a:pt x="84" y="228"/>
                    <a:pt x="84" y="227"/>
                  </a:cubicBezTo>
                  <a:cubicBezTo>
                    <a:pt x="85" y="227"/>
                    <a:pt x="85" y="227"/>
                    <a:pt x="85" y="227"/>
                  </a:cubicBezTo>
                  <a:cubicBezTo>
                    <a:pt x="86" y="226"/>
                    <a:pt x="86" y="226"/>
                    <a:pt x="86" y="226"/>
                  </a:cubicBezTo>
                  <a:cubicBezTo>
                    <a:pt x="86" y="226"/>
                    <a:pt x="85" y="226"/>
                    <a:pt x="85" y="226"/>
                  </a:cubicBezTo>
                  <a:cubicBezTo>
                    <a:pt x="85" y="226"/>
                    <a:pt x="84" y="227"/>
                    <a:pt x="83" y="227"/>
                  </a:cubicBezTo>
                  <a:cubicBezTo>
                    <a:pt x="83" y="227"/>
                    <a:pt x="83" y="227"/>
                    <a:pt x="83" y="227"/>
                  </a:cubicBezTo>
                  <a:cubicBezTo>
                    <a:pt x="83" y="227"/>
                    <a:pt x="82" y="227"/>
                    <a:pt x="82" y="228"/>
                  </a:cubicBezTo>
                  <a:cubicBezTo>
                    <a:pt x="82" y="228"/>
                    <a:pt x="81" y="228"/>
                    <a:pt x="81" y="229"/>
                  </a:cubicBezTo>
                  <a:cubicBezTo>
                    <a:pt x="81" y="230"/>
                    <a:pt x="81" y="231"/>
                    <a:pt x="82" y="232"/>
                  </a:cubicBezTo>
                  <a:cubicBezTo>
                    <a:pt x="79" y="228"/>
                    <a:pt x="75" y="224"/>
                    <a:pt x="71" y="224"/>
                  </a:cubicBezTo>
                  <a:cubicBezTo>
                    <a:pt x="65" y="224"/>
                    <a:pt x="65" y="227"/>
                    <a:pt x="68" y="229"/>
                  </a:cubicBezTo>
                  <a:cubicBezTo>
                    <a:pt x="78" y="238"/>
                    <a:pt x="81" y="245"/>
                    <a:pt x="81" y="245"/>
                  </a:cubicBezTo>
                  <a:cubicBezTo>
                    <a:pt x="81" y="245"/>
                    <a:pt x="79" y="245"/>
                    <a:pt x="79" y="244"/>
                  </a:cubicBezTo>
                  <a:cubicBezTo>
                    <a:pt x="72" y="238"/>
                    <a:pt x="66" y="231"/>
                    <a:pt x="62" y="224"/>
                  </a:cubicBezTo>
                  <a:cubicBezTo>
                    <a:pt x="62" y="224"/>
                    <a:pt x="61" y="222"/>
                    <a:pt x="61" y="222"/>
                  </a:cubicBezTo>
                  <a:cubicBezTo>
                    <a:pt x="57" y="216"/>
                    <a:pt x="70" y="215"/>
                    <a:pt x="79" y="217"/>
                  </a:cubicBezTo>
                  <a:cubicBezTo>
                    <a:pt x="81" y="218"/>
                    <a:pt x="84" y="218"/>
                    <a:pt x="88" y="221"/>
                  </a:cubicBezTo>
                  <a:cubicBezTo>
                    <a:pt x="85" y="217"/>
                    <a:pt x="75" y="215"/>
                    <a:pt x="70" y="215"/>
                  </a:cubicBezTo>
                  <a:cubicBezTo>
                    <a:pt x="67" y="214"/>
                    <a:pt x="57" y="215"/>
                    <a:pt x="58" y="219"/>
                  </a:cubicBezTo>
                  <a:cubicBezTo>
                    <a:pt x="51" y="205"/>
                    <a:pt x="52" y="209"/>
                    <a:pt x="51" y="204"/>
                  </a:cubicBezTo>
                  <a:cubicBezTo>
                    <a:pt x="51" y="204"/>
                    <a:pt x="51" y="204"/>
                    <a:pt x="51" y="204"/>
                  </a:cubicBezTo>
                  <a:cubicBezTo>
                    <a:pt x="51" y="201"/>
                    <a:pt x="56" y="200"/>
                    <a:pt x="62" y="200"/>
                  </a:cubicBezTo>
                  <a:cubicBezTo>
                    <a:pt x="66" y="199"/>
                    <a:pt x="70" y="199"/>
                    <a:pt x="73" y="200"/>
                  </a:cubicBezTo>
                  <a:cubicBezTo>
                    <a:pt x="80" y="200"/>
                    <a:pt x="92" y="204"/>
                    <a:pt x="97" y="207"/>
                  </a:cubicBezTo>
                  <a:cubicBezTo>
                    <a:pt x="103" y="210"/>
                    <a:pt x="104" y="212"/>
                    <a:pt x="104" y="212"/>
                  </a:cubicBezTo>
                  <a:cubicBezTo>
                    <a:pt x="104" y="212"/>
                    <a:pt x="104" y="210"/>
                    <a:pt x="99" y="207"/>
                  </a:cubicBezTo>
                  <a:cubicBezTo>
                    <a:pt x="93" y="203"/>
                    <a:pt x="82" y="199"/>
                    <a:pt x="74" y="198"/>
                  </a:cubicBezTo>
                  <a:cubicBezTo>
                    <a:pt x="67" y="197"/>
                    <a:pt x="53" y="198"/>
                    <a:pt x="50" y="200"/>
                  </a:cubicBezTo>
                  <a:cubicBezTo>
                    <a:pt x="26" y="107"/>
                    <a:pt x="43" y="89"/>
                    <a:pt x="46" y="51"/>
                  </a:cubicBezTo>
                  <a:cubicBezTo>
                    <a:pt x="48" y="44"/>
                    <a:pt x="48" y="40"/>
                    <a:pt x="49" y="36"/>
                  </a:cubicBezTo>
                  <a:close/>
                  <a:moveTo>
                    <a:pt x="3" y="4"/>
                  </a:moveTo>
                  <a:cubicBezTo>
                    <a:pt x="3" y="4"/>
                    <a:pt x="2" y="3"/>
                    <a:pt x="2" y="2"/>
                  </a:cubicBezTo>
                  <a:cubicBezTo>
                    <a:pt x="6" y="4"/>
                    <a:pt x="10" y="7"/>
                    <a:pt x="13" y="9"/>
                  </a:cubicBezTo>
                  <a:cubicBezTo>
                    <a:pt x="23" y="17"/>
                    <a:pt x="41" y="22"/>
                    <a:pt x="48" y="28"/>
                  </a:cubicBezTo>
                  <a:cubicBezTo>
                    <a:pt x="51" y="28"/>
                    <a:pt x="62" y="25"/>
                    <a:pt x="70" y="24"/>
                  </a:cubicBezTo>
                  <a:cubicBezTo>
                    <a:pt x="84" y="23"/>
                    <a:pt x="81" y="18"/>
                    <a:pt x="86" y="19"/>
                  </a:cubicBezTo>
                  <a:cubicBezTo>
                    <a:pt x="83" y="27"/>
                    <a:pt x="75" y="39"/>
                    <a:pt x="57" y="45"/>
                  </a:cubicBezTo>
                  <a:cubicBezTo>
                    <a:pt x="53" y="36"/>
                    <a:pt x="54" y="38"/>
                    <a:pt x="53" y="36"/>
                  </a:cubicBezTo>
                  <a:cubicBezTo>
                    <a:pt x="53" y="35"/>
                    <a:pt x="52" y="34"/>
                    <a:pt x="52" y="34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7" y="34"/>
                    <a:pt x="46" y="40"/>
                    <a:pt x="46" y="42"/>
                  </a:cubicBezTo>
                  <a:cubicBezTo>
                    <a:pt x="27" y="30"/>
                    <a:pt x="13" y="18"/>
                    <a:pt x="3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9" name="Freeform 376">
              <a:extLst>
                <a:ext uri="{FF2B5EF4-FFF2-40B4-BE49-F238E27FC236}">
                  <a16:creationId xmlns:a16="http://schemas.microsoft.com/office/drawing/2014/main" id="{5BB91B49-D97C-4825-9185-1417AAB5C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3988" y="1920876"/>
              <a:ext cx="36513" cy="20638"/>
            </a:xfrm>
            <a:custGeom>
              <a:avLst/>
              <a:gdLst>
                <a:gd name="T0" fmla="*/ 7 w 14"/>
                <a:gd name="T1" fmla="*/ 7 h 8"/>
                <a:gd name="T2" fmla="*/ 0 w 14"/>
                <a:gd name="T3" fmla="*/ 0 h 8"/>
                <a:gd name="T4" fmla="*/ 6 w 14"/>
                <a:gd name="T5" fmla="*/ 5 h 8"/>
                <a:gd name="T6" fmla="*/ 12 w 14"/>
                <a:gd name="T7" fmla="*/ 1 h 8"/>
                <a:gd name="T8" fmla="*/ 14 w 14"/>
                <a:gd name="T9" fmla="*/ 1 h 8"/>
                <a:gd name="T10" fmla="*/ 10 w 14"/>
                <a:gd name="T11" fmla="*/ 5 h 8"/>
                <a:gd name="T12" fmla="*/ 7 w 14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8">
                  <a:moveTo>
                    <a:pt x="7" y="7"/>
                  </a:moveTo>
                  <a:cubicBezTo>
                    <a:pt x="4" y="8"/>
                    <a:pt x="0" y="2"/>
                    <a:pt x="0" y="0"/>
                  </a:cubicBezTo>
                  <a:cubicBezTo>
                    <a:pt x="1" y="2"/>
                    <a:pt x="4" y="5"/>
                    <a:pt x="6" y="5"/>
                  </a:cubicBezTo>
                  <a:cubicBezTo>
                    <a:pt x="9" y="5"/>
                    <a:pt x="11" y="3"/>
                    <a:pt x="12" y="1"/>
                  </a:cubicBezTo>
                  <a:cubicBezTo>
                    <a:pt x="13" y="1"/>
                    <a:pt x="13" y="1"/>
                    <a:pt x="14" y="1"/>
                  </a:cubicBezTo>
                  <a:cubicBezTo>
                    <a:pt x="12" y="2"/>
                    <a:pt x="12" y="3"/>
                    <a:pt x="10" y="5"/>
                  </a:cubicBezTo>
                  <a:cubicBezTo>
                    <a:pt x="10" y="5"/>
                    <a:pt x="9" y="7"/>
                    <a:pt x="7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0" name="Freeform 377">
              <a:extLst>
                <a:ext uri="{FF2B5EF4-FFF2-40B4-BE49-F238E27FC236}">
                  <a16:creationId xmlns:a16="http://schemas.microsoft.com/office/drawing/2014/main" id="{CBC9DDE6-FFF4-46F5-B07A-E4C5BC06A8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70813" y="1881188"/>
              <a:ext cx="50800" cy="36513"/>
            </a:xfrm>
            <a:custGeom>
              <a:avLst/>
              <a:gdLst>
                <a:gd name="T0" fmla="*/ 2 w 19"/>
                <a:gd name="T1" fmla="*/ 7 h 14"/>
                <a:gd name="T2" fmla="*/ 17 w 19"/>
                <a:gd name="T3" fmla="*/ 12 h 14"/>
                <a:gd name="T4" fmla="*/ 17 w 19"/>
                <a:gd name="T5" fmla="*/ 6 h 14"/>
                <a:gd name="T6" fmla="*/ 2 w 19"/>
                <a:gd name="T7" fmla="*/ 7 h 14"/>
                <a:gd name="T8" fmla="*/ 16 w 19"/>
                <a:gd name="T9" fmla="*/ 10 h 14"/>
                <a:gd name="T10" fmla="*/ 4 w 19"/>
                <a:gd name="T11" fmla="*/ 6 h 14"/>
                <a:gd name="T12" fmla="*/ 16 w 19"/>
                <a:gd name="T1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4">
                  <a:moveTo>
                    <a:pt x="2" y="7"/>
                  </a:moveTo>
                  <a:cubicBezTo>
                    <a:pt x="4" y="11"/>
                    <a:pt x="14" y="14"/>
                    <a:pt x="17" y="12"/>
                  </a:cubicBezTo>
                  <a:cubicBezTo>
                    <a:pt x="19" y="11"/>
                    <a:pt x="19" y="8"/>
                    <a:pt x="17" y="6"/>
                  </a:cubicBezTo>
                  <a:cubicBezTo>
                    <a:pt x="11" y="0"/>
                    <a:pt x="0" y="1"/>
                    <a:pt x="2" y="7"/>
                  </a:cubicBezTo>
                  <a:close/>
                  <a:moveTo>
                    <a:pt x="16" y="10"/>
                  </a:moveTo>
                  <a:cubicBezTo>
                    <a:pt x="15" y="13"/>
                    <a:pt x="6" y="11"/>
                    <a:pt x="4" y="6"/>
                  </a:cubicBezTo>
                  <a:cubicBezTo>
                    <a:pt x="1" y="0"/>
                    <a:pt x="19" y="3"/>
                    <a:pt x="16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1" name="Freeform 378">
              <a:extLst>
                <a:ext uri="{FF2B5EF4-FFF2-40B4-BE49-F238E27FC236}">
                  <a16:creationId xmlns:a16="http://schemas.microsoft.com/office/drawing/2014/main" id="{3EC906E2-42BD-4BB0-B963-4D207B3181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5100" y="1890713"/>
              <a:ext cx="28575" cy="15875"/>
            </a:xfrm>
            <a:custGeom>
              <a:avLst/>
              <a:gdLst>
                <a:gd name="T0" fmla="*/ 3 w 11"/>
                <a:gd name="T1" fmla="*/ 0 h 6"/>
                <a:gd name="T2" fmla="*/ 2 w 11"/>
                <a:gd name="T3" fmla="*/ 4 h 6"/>
                <a:gd name="T4" fmla="*/ 9 w 11"/>
                <a:gd name="T5" fmla="*/ 6 h 6"/>
                <a:gd name="T6" fmla="*/ 9 w 11"/>
                <a:gd name="T7" fmla="*/ 2 h 6"/>
                <a:gd name="T8" fmla="*/ 3 w 11"/>
                <a:gd name="T9" fmla="*/ 0 h 6"/>
                <a:gd name="T10" fmla="*/ 7 w 11"/>
                <a:gd name="T11" fmla="*/ 4 h 6"/>
                <a:gd name="T12" fmla="*/ 4 w 11"/>
                <a:gd name="T13" fmla="*/ 3 h 6"/>
                <a:gd name="T14" fmla="*/ 7 w 11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3" y="0"/>
                  </a:moveTo>
                  <a:cubicBezTo>
                    <a:pt x="1" y="0"/>
                    <a:pt x="0" y="2"/>
                    <a:pt x="2" y="4"/>
                  </a:cubicBezTo>
                  <a:cubicBezTo>
                    <a:pt x="3" y="5"/>
                    <a:pt x="7" y="6"/>
                    <a:pt x="9" y="6"/>
                  </a:cubicBezTo>
                  <a:cubicBezTo>
                    <a:pt x="10" y="5"/>
                    <a:pt x="11" y="4"/>
                    <a:pt x="9" y="2"/>
                  </a:cubicBezTo>
                  <a:cubicBezTo>
                    <a:pt x="8" y="1"/>
                    <a:pt x="5" y="0"/>
                    <a:pt x="3" y="0"/>
                  </a:cubicBezTo>
                  <a:close/>
                  <a:moveTo>
                    <a:pt x="7" y="4"/>
                  </a:moveTo>
                  <a:cubicBezTo>
                    <a:pt x="6" y="5"/>
                    <a:pt x="4" y="4"/>
                    <a:pt x="4" y="3"/>
                  </a:cubicBezTo>
                  <a:cubicBezTo>
                    <a:pt x="4" y="2"/>
                    <a:pt x="8" y="3"/>
                    <a:pt x="7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2" name="Freeform 379">
              <a:extLst>
                <a:ext uri="{FF2B5EF4-FFF2-40B4-BE49-F238E27FC236}">
                  <a16:creationId xmlns:a16="http://schemas.microsoft.com/office/drawing/2014/main" id="{BAF04FD6-D5DA-40B0-BCA8-25B3936FF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8850" y="2239963"/>
              <a:ext cx="39688" cy="39688"/>
            </a:xfrm>
            <a:custGeom>
              <a:avLst/>
              <a:gdLst>
                <a:gd name="T0" fmla="*/ 14 w 15"/>
                <a:gd name="T1" fmla="*/ 15 h 15"/>
                <a:gd name="T2" fmla="*/ 8 w 15"/>
                <a:gd name="T3" fmla="*/ 2 h 15"/>
                <a:gd name="T4" fmla="*/ 0 w 15"/>
                <a:gd name="T5" fmla="*/ 6 h 15"/>
                <a:gd name="T6" fmla="*/ 2 w 15"/>
                <a:gd name="T7" fmla="*/ 3 h 15"/>
                <a:gd name="T8" fmla="*/ 13 w 15"/>
                <a:gd name="T9" fmla="*/ 4 h 15"/>
                <a:gd name="T10" fmla="*/ 14 w 15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14" y="15"/>
                  </a:moveTo>
                  <a:cubicBezTo>
                    <a:pt x="14" y="14"/>
                    <a:pt x="15" y="4"/>
                    <a:pt x="8" y="2"/>
                  </a:cubicBezTo>
                  <a:cubicBezTo>
                    <a:pt x="4" y="2"/>
                    <a:pt x="2" y="4"/>
                    <a:pt x="0" y="6"/>
                  </a:cubicBezTo>
                  <a:cubicBezTo>
                    <a:pt x="0" y="6"/>
                    <a:pt x="0" y="5"/>
                    <a:pt x="2" y="3"/>
                  </a:cubicBezTo>
                  <a:cubicBezTo>
                    <a:pt x="5" y="0"/>
                    <a:pt x="10" y="0"/>
                    <a:pt x="13" y="4"/>
                  </a:cubicBezTo>
                  <a:cubicBezTo>
                    <a:pt x="15" y="8"/>
                    <a:pt x="15" y="13"/>
                    <a:pt x="14" y="1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3" name="Freeform 380">
              <a:extLst>
                <a:ext uri="{FF2B5EF4-FFF2-40B4-BE49-F238E27FC236}">
                  <a16:creationId xmlns:a16="http://schemas.microsoft.com/office/drawing/2014/main" id="{99136E1E-5D1B-471A-998A-2089412F4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2350" y="2184401"/>
              <a:ext cx="74613" cy="50800"/>
            </a:xfrm>
            <a:custGeom>
              <a:avLst/>
              <a:gdLst>
                <a:gd name="T0" fmla="*/ 0 w 28"/>
                <a:gd name="T1" fmla="*/ 15 h 19"/>
                <a:gd name="T2" fmla="*/ 9 w 28"/>
                <a:gd name="T3" fmla="*/ 16 h 19"/>
                <a:gd name="T4" fmla="*/ 25 w 28"/>
                <a:gd name="T5" fmla="*/ 4 h 19"/>
                <a:gd name="T6" fmla="*/ 6 w 28"/>
                <a:gd name="T7" fmla="*/ 9 h 19"/>
                <a:gd name="T8" fmla="*/ 1 w 28"/>
                <a:gd name="T9" fmla="*/ 9 h 19"/>
                <a:gd name="T10" fmla="*/ 2 w 28"/>
                <a:gd name="T11" fmla="*/ 7 h 19"/>
                <a:gd name="T12" fmla="*/ 7 w 28"/>
                <a:gd name="T13" fmla="*/ 7 h 19"/>
                <a:gd name="T14" fmla="*/ 16 w 28"/>
                <a:gd name="T15" fmla="*/ 5 h 19"/>
                <a:gd name="T16" fmla="*/ 26 w 28"/>
                <a:gd name="T17" fmla="*/ 5 h 19"/>
                <a:gd name="T18" fmla="*/ 19 w 28"/>
                <a:gd name="T19" fmla="*/ 12 h 19"/>
                <a:gd name="T20" fmla="*/ 7 w 28"/>
                <a:gd name="T21" fmla="*/ 17 h 19"/>
                <a:gd name="T22" fmla="*/ 0 w 28"/>
                <a:gd name="T23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19">
                  <a:moveTo>
                    <a:pt x="0" y="15"/>
                  </a:moveTo>
                  <a:cubicBezTo>
                    <a:pt x="0" y="15"/>
                    <a:pt x="0" y="18"/>
                    <a:pt x="9" y="16"/>
                  </a:cubicBezTo>
                  <a:cubicBezTo>
                    <a:pt x="16" y="13"/>
                    <a:pt x="27" y="6"/>
                    <a:pt x="25" y="4"/>
                  </a:cubicBezTo>
                  <a:cubicBezTo>
                    <a:pt x="24" y="1"/>
                    <a:pt x="11" y="10"/>
                    <a:pt x="6" y="9"/>
                  </a:cubicBezTo>
                  <a:cubicBezTo>
                    <a:pt x="4" y="8"/>
                    <a:pt x="3" y="7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ubicBezTo>
                    <a:pt x="3" y="6"/>
                    <a:pt x="5" y="7"/>
                    <a:pt x="7" y="7"/>
                  </a:cubicBezTo>
                  <a:cubicBezTo>
                    <a:pt x="10" y="7"/>
                    <a:pt x="13" y="6"/>
                    <a:pt x="16" y="5"/>
                  </a:cubicBezTo>
                  <a:cubicBezTo>
                    <a:pt x="18" y="4"/>
                    <a:pt x="28" y="0"/>
                    <a:pt x="26" y="5"/>
                  </a:cubicBezTo>
                  <a:cubicBezTo>
                    <a:pt x="25" y="8"/>
                    <a:pt x="21" y="10"/>
                    <a:pt x="19" y="12"/>
                  </a:cubicBezTo>
                  <a:cubicBezTo>
                    <a:pt x="15" y="14"/>
                    <a:pt x="11" y="16"/>
                    <a:pt x="7" y="17"/>
                  </a:cubicBezTo>
                  <a:cubicBezTo>
                    <a:pt x="0" y="19"/>
                    <a:pt x="0" y="15"/>
                    <a:pt x="0" y="1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4" name="Freeform 381">
              <a:extLst>
                <a:ext uri="{FF2B5EF4-FFF2-40B4-BE49-F238E27FC236}">
                  <a16:creationId xmlns:a16="http://schemas.microsoft.com/office/drawing/2014/main" id="{8C07C32A-05F4-4527-98D9-27D98ECF42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07263" y="2276476"/>
              <a:ext cx="28575" cy="30163"/>
            </a:xfrm>
            <a:custGeom>
              <a:avLst/>
              <a:gdLst>
                <a:gd name="T0" fmla="*/ 3 w 11"/>
                <a:gd name="T1" fmla="*/ 3 h 11"/>
                <a:gd name="T2" fmla="*/ 7 w 11"/>
                <a:gd name="T3" fmla="*/ 9 h 11"/>
                <a:gd name="T4" fmla="*/ 4 w 11"/>
                <a:gd name="T5" fmla="*/ 1 h 11"/>
                <a:gd name="T6" fmla="*/ 3 w 11"/>
                <a:gd name="T7" fmla="*/ 3 h 11"/>
                <a:gd name="T8" fmla="*/ 4 w 11"/>
                <a:gd name="T9" fmla="*/ 2 h 11"/>
                <a:gd name="T10" fmla="*/ 8 w 11"/>
                <a:gd name="T11" fmla="*/ 3 h 11"/>
                <a:gd name="T12" fmla="*/ 5 w 11"/>
                <a:gd name="T13" fmla="*/ 9 h 11"/>
                <a:gd name="T14" fmla="*/ 4 w 11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1">
                  <a:moveTo>
                    <a:pt x="3" y="3"/>
                  </a:moveTo>
                  <a:cubicBezTo>
                    <a:pt x="0" y="7"/>
                    <a:pt x="3" y="11"/>
                    <a:pt x="7" y="9"/>
                  </a:cubicBezTo>
                  <a:cubicBezTo>
                    <a:pt x="11" y="6"/>
                    <a:pt x="8" y="0"/>
                    <a:pt x="4" y="1"/>
                  </a:cubicBezTo>
                  <a:cubicBezTo>
                    <a:pt x="4" y="2"/>
                    <a:pt x="3" y="2"/>
                    <a:pt x="3" y="3"/>
                  </a:cubicBezTo>
                  <a:close/>
                  <a:moveTo>
                    <a:pt x="4" y="2"/>
                  </a:moveTo>
                  <a:cubicBezTo>
                    <a:pt x="5" y="2"/>
                    <a:pt x="7" y="3"/>
                    <a:pt x="8" y="3"/>
                  </a:cubicBezTo>
                  <a:cubicBezTo>
                    <a:pt x="9" y="6"/>
                    <a:pt x="7" y="9"/>
                    <a:pt x="5" y="9"/>
                  </a:cubicBezTo>
                  <a:cubicBezTo>
                    <a:pt x="2" y="8"/>
                    <a:pt x="2" y="3"/>
                    <a:pt x="4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5" name="Freeform 382">
              <a:extLst>
                <a:ext uri="{FF2B5EF4-FFF2-40B4-BE49-F238E27FC236}">
                  <a16:creationId xmlns:a16="http://schemas.microsoft.com/office/drawing/2014/main" id="{843ADB8F-0500-4B9F-8AA8-C6405F7D5C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5200" y="2284413"/>
              <a:ext cx="9525" cy="14288"/>
            </a:xfrm>
            <a:custGeom>
              <a:avLst/>
              <a:gdLst>
                <a:gd name="T0" fmla="*/ 0 w 4"/>
                <a:gd name="T1" fmla="*/ 3 h 5"/>
                <a:gd name="T2" fmla="*/ 4 w 4"/>
                <a:gd name="T3" fmla="*/ 3 h 5"/>
                <a:gd name="T4" fmla="*/ 3 w 4"/>
                <a:gd name="T5" fmla="*/ 0 h 5"/>
                <a:gd name="T6" fmla="*/ 0 w 4"/>
                <a:gd name="T7" fmla="*/ 3 h 5"/>
                <a:gd name="T8" fmla="*/ 2 w 4"/>
                <a:gd name="T9" fmla="*/ 4 h 5"/>
                <a:gd name="T10" fmla="*/ 2 w 4"/>
                <a:gd name="T11" fmla="*/ 3 h 5"/>
                <a:gd name="T12" fmla="*/ 2 w 4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5">
                  <a:moveTo>
                    <a:pt x="0" y="3"/>
                  </a:moveTo>
                  <a:cubicBezTo>
                    <a:pt x="1" y="5"/>
                    <a:pt x="4" y="5"/>
                    <a:pt x="4" y="3"/>
                  </a:cubicBezTo>
                  <a:cubicBezTo>
                    <a:pt x="4" y="2"/>
                    <a:pt x="4" y="1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lose/>
                  <a:moveTo>
                    <a:pt x="2" y="4"/>
                  </a:moveTo>
                  <a:cubicBezTo>
                    <a:pt x="2" y="4"/>
                    <a:pt x="2" y="3"/>
                    <a:pt x="2" y="3"/>
                  </a:cubicBezTo>
                  <a:cubicBezTo>
                    <a:pt x="2" y="2"/>
                    <a:pt x="3" y="3"/>
                    <a:pt x="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6" name="Freeform 383">
              <a:extLst>
                <a:ext uri="{FF2B5EF4-FFF2-40B4-BE49-F238E27FC236}">
                  <a16:creationId xmlns:a16="http://schemas.microsoft.com/office/drawing/2014/main" id="{D4B16B2C-E40B-4489-A60B-074E9E93F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7588" y="2052638"/>
              <a:ext cx="242888" cy="231775"/>
            </a:xfrm>
            <a:custGeom>
              <a:avLst/>
              <a:gdLst>
                <a:gd name="T0" fmla="*/ 92 w 92"/>
                <a:gd name="T1" fmla="*/ 0 h 88"/>
                <a:gd name="T2" fmla="*/ 92 w 92"/>
                <a:gd name="T3" fmla="*/ 0 h 88"/>
                <a:gd name="T4" fmla="*/ 92 w 92"/>
                <a:gd name="T5" fmla="*/ 0 h 88"/>
                <a:gd name="T6" fmla="*/ 81 w 92"/>
                <a:gd name="T7" fmla="*/ 15 h 88"/>
                <a:gd name="T8" fmla="*/ 69 w 92"/>
                <a:gd name="T9" fmla="*/ 30 h 88"/>
                <a:gd name="T10" fmla="*/ 0 w 92"/>
                <a:gd name="T11" fmla="*/ 87 h 88"/>
                <a:gd name="T12" fmla="*/ 68 w 92"/>
                <a:gd name="T13" fmla="*/ 29 h 88"/>
                <a:gd name="T14" fmla="*/ 81 w 92"/>
                <a:gd name="T15" fmla="*/ 14 h 88"/>
                <a:gd name="T16" fmla="*/ 87 w 92"/>
                <a:gd name="T17" fmla="*/ 7 h 88"/>
                <a:gd name="T18" fmla="*/ 92 w 92"/>
                <a:gd name="T1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88">
                  <a:moveTo>
                    <a:pt x="92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0" y="4"/>
                    <a:pt x="85" y="9"/>
                    <a:pt x="81" y="15"/>
                  </a:cubicBezTo>
                  <a:cubicBezTo>
                    <a:pt x="78" y="18"/>
                    <a:pt x="74" y="23"/>
                    <a:pt x="69" y="30"/>
                  </a:cubicBezTo>
                  <a:cubicBezTo>
                    <a:pt x="36" y="71"/>
                    <a:pt x="1" y="88"/>
                    <a:pt x="0" y="87"/>
                  </a:cubicBezTo>
                  <a:cubicBezTo>
                    <a:pt x="7" y="83"/>
                    <a:pt x="36" y="69"/>
                    <a:pt x="68" y="29"/>
                  </a:cubicBezTo>
                  <a:cubicBezTo>
                    <a:pt x="74" y="23"/>
                    <a:pt x="78" y="18"/>
                    <a:pt x="81" y="14"/>
                  </a:cubicBezTo>
                  <a:cubicBezTo>
                    <a:pt x="83" y="10"/>
                    <a:pt x="85" y="8"/>
                    <a:pt x="87" y="7"/>
                  </a:cubicBezTo>
                  <a:cubicBezTo>
                    <a:pt x="87" y="6"/>
                    <a:pt x="90" y="3"/>
                    <a:pt x="92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7" name="Freeform 384">
              <a:extLst>
                <a:ext uri="{FF2B5EF4-FFF2-40B4-BE49-F238E27FC236}">
                  <a16:creationId xmlns:a16="http://schemas.microsoft.com/office/drawing/2014/main" id="{3FCE54D9-3888-4172-AE8F-B5F53A499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6950" y="2065338"/>
              <a:ext cx="227013" cy="139700"/>
            </a:xfrm>
            <a:custGeom>
              <a:avLst/>
              <a:gdLst>
                <a:gd name="T0" fmla="*/ 12 w 86"/>
                <a:gd name="T1" fmla="*/ 43 h 53"/>
                <a:gd name="T2" fmla="*/ 0 w 86"/>
                <a:gd name="T3" fmla="*/ 53 h 53"/>
                <a:gd name="T4" fmla="*/ 10 w 86"/>
                <a:gd name="T5" fmla="*/ 43 h 53"/>
                <a:gd name="T6" fmla="*/ 12 w 86"/>
                <a:gd name="T7" fmla="*/ 41 h 53"/>
                <a:gd name="T8" fmla="*/ 45 w 86"/>
                <a:gd name="T9" fmla="*/ 17 h 53"/>
                <a:gd name="T10" fmla="*/ 51 w 86"/>
                <a:gd name="T11" fmla="*/ 14 h 53"/>
                <a:gd name="T12" fmla="*/ 84 w 86"/>
                <a:gd name="T13" fmla="*/ 0 h 53"/>
                <a:gd name="T14" fmla="*/ 86 w 86"/>
                <a:gd name="T15" fmla="*/ 0 h 53"/>
                <a:gd name="T16" fmla="*/ 84 w 86"/>
                <a:gd name="T17" fmla="*/ 1 h 53"/>
                <a:gd name="T18" fmla="*/ 12 w 86"/>
                <a:gd name="T19" fmla="*/ 4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53">
                  <a:moveTo>
                    <a:pt x="12" y="43"/>
                  </a:moveTo>
                  <a:cubicBezTo>
                    <a:pt x="9" y="45"/>
                    <a:pt x="4" y="50"/>
                    <a:pt x="0" y="53"/>
                  </a:cubicBezTo>
                  <a:cubicBezTo>
                    <a:pt x="3" y="50"/>
                    <a:pt x="6" y="47"/>
                    <a:pt x="10" y="43"/>
                  </a:cubicBezTo>
                  <a:cubicBezTo>
                    <a:pt x="10" y="43"/>
                    <a:pt x="11" y="42"/>
                    <a:pt x="12" y="41"/>
                  </a:cubicBezTo>
                  <a:cubicBezTo>
                    <a:pt x="19" y="34"/>
                    <a:pt x="30" y="26"/>
                    <a:pt x="45" y="17"/>
                  </a:cubicBezTo>
                  <a:cubicBezTo>
                    <a:pt x="47" y="16"/>
                    <a:pt x="49" y="15"/>
                    <a:pt x="51" y="14"/>
                  </a:cubicBezTo>
                  <a:cubicBezTo>
                    <a:pt x="62" y="8"/>
                    <a:pt x="71" y="4"/>
                    <a:pt x="84" y="0"/>
                  </a:cubicBezTo>
                  <a:cubicBezTo>
                    <a:pt x="85" y="0"/>
                    <a:pt x="86" y="0"/>
                    <a:pt x="86" y="0"/>
                  </a:cubicBezTo>
                  <a:cubicBezTo>
                    <a:pt x="86" y="0"/>
                    <a:pt x="85" y="0"/>
                    <a:pt x="84" y="1"/>
                  </a:cubicBezTo>
                  <a:cubicBezTo>
                    <a:pt x="57" y="10"/>
                    <a:pt x="34" y="22"/>
                    <a:pt x="12" y="4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8" name="Freeform 385">
              <a:extLst>
                <a:ext uri="{FF2B5EF4-FFF2-40B4-BE49-F238E27FC236}">
                  <a16:creationId xmlns:a16="http://schemas.microsoft.com/office/drawing/2014/main" id="{8579F10D-9376-4F54-A530-4D5969EFD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2203451"/>
              <a:ext cx="52388" cy="20638"/>
            </a:xfrm>
            <a:custGeom>
              <a:avLst/>
              <a:gdLst>
                <a:gd name="T0" fmla="*/ 4 w 20"/>
                <a:gd name="T1" fmla="*/ 8 h 8"/>
                <a:gd name="T2" fmla="*/ 0 w 20"/>
                <a:gd name="T3" fmla="*/ 8 h 8"/>
                <a:gd name="T4" fmla="*/ 2 w 20"/>
                <a:gd name="T5" fmla="*/ 8 h 8"/>
                <a:gd name="T6" fmla="*/ 20 w 20"/>
                <a:gd name="T7" fmla="*/ 0 h 8"/>
                <a:gd name="T8" fmla="*/ 4 w 20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cubicBezTo>
                    <a:pt x="1" y="8"/>
                    <a:pt x="2" y="8"/>
                    <a:pt x="0" y="8"/>
                  </a:cubicBezTo>
                  <a:cubicBezTo>
                    <a:pt x="0" y="8"/>
                    <a:pt x="1" y="8"/>
                    <a:pt x="2" y="8"/>
                  </a:cubicBezTo>
                  <a:cubicBezTo>
                    <a:pt x="9" y="7"/>
                    <a:pt x="14" y="4"/>
                    <a:pt x="20" y="0"/>
                  </a:cubicBezTo>
                  <a:cubicBezTo>
                    <a:pt x="18" y="2"/>
                    <a:pt x="12" y="6"/>
                    <a:pt x="4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9" name="Freeform 386">
              <a:extLst>
                <a:ext uri="{FF2B5EF4-FFF2-40B4-BE49-F238E27FC236}">
                  <a16:creationId xmlns:a16="http://schemas.microsoft.com/office/drawing/2014/main" id="{9FFBF93A-0F7E-46A2-BBCE-381B119CA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2200276"/>
              <a:ext cx="47625" cy="20638"/>
            </a:xfrm>
            <a:custGeom>
              <a:avLst/>
              <a:gdLst>
                <a:gd name="T0" fmla="*/ 9 w 18"/>
                <a:gd name="T1" fmla="*/ 6 h 8"/>
                <a:gd name="T2" fmla="*/ 0 w 18"/>
                <a:gd name="T3" fmla="*/ 8 h 8"/>
                <a:gd name="T4" fmla="*/ 18 w 18"/>
                <a:gd name="T5" fmla="*/ 0 h 8"/>
                <a:gd name="T6" fmla="*/ 9 w 18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8">
                  <a:moveTo>
                    <a:pt x="9" y="6"/>
                  </a:moveTo>
                  <a:cubicBezTo>
                    <a:pt x="3" y="8"/>
                    <a:pt x="0" y="8"/>
                    <a:pt x="0" y="8"/>
                  </a:cubicBezTo>
                  <a:cubicBezTo>
                    <a:pt x="7" y="6"/>
                    <a:pt x="10" y="5"/>
                    <a:pt x="18" y="0"/>
                  </a:cubicBezTo>
                  <a:cubicBezTo>
                    <a:pt x="18" y="1"/>
                    <a:pt x="15" y="3"/>
                    <a:pt x="9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0" name="Freeform 387">
              <a:extLst>
                <a:ext uri="{FF2B5EF4-FFF2-40B4-BE49-F238E27FC236}">
                  <a16:creationId xmlns:a16="http://schemas.microsoft.com/office/drawing/2014/main" id="{FB8C3E53-3564-4309-A98B-4E6864221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5525" y="2208213"/>
              <a:ext cx="28575" cy="11113"/>
            </a:xfrm>
            <a:custGeom>
              <a:avLst/>
              <a:gdLst>
                <a:gd name="T0" fmla="*/ 10 w 11"/>
                <a:gd name="T1" fmla="*/ 1 h 4"/>
                <a:gd name="T2" fmla="*/ 0 w 11"/>
                <a:gd name="T3" fmla="*/ 4 h 4"/>
                <a:gd name="T4" fmla="*/ 11 w 11"/>
                <a:gd name="T5" fmla="*/ 0 h 4"/>
                <a:gd name="T6" fmla="*/ 10 w 11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4">
                  <a:moveTo>
                    <a:pt x="10" y="1"/>
                  </a:moveTo>
                  <a:cubicBezTo>
                    <a:pt x="4" y="4"/>
                    <a:pt x="0" y="4"/>
                    <a:pt x="0" y="4"/>
                  </a:cubicBezTo>
                  <a:cubicBezTo>
                    <a:pt x="4" y="3"/>
                    <a:pt x="7" y="2"/>
                    <a:pt x="11" y="0"/>
                  </a:cubicBezTo>
                  <a:cubicBezTo>
                    <a:pt x="11" y="0"/>
                    <a:pt x="11" y="0"/>
                    <a:pt x="1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1" name="Freeform 388">
              <a:extLst>
                <a:ext uri="{FF2B5EF4-FFF2-40B4-BE49-F238E27FC236}">
                  <a16:creationId xmlns:a16="http://schemas.microsoft.com/office/drawing/2014/main" id="{F3FBA00D-D41A-44C9-8C0F-DF5DD38C2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2211388"/>
              <a:ext cx="12700" cy="4763"/>
            </a:xfrm>
            <a:custGeom>
              <a:avLst/>
              <a:gdLst>
                <a:gd name="T0" fmla="*/ 5 w 5"/>
                <a:gd name="T1" fmla="*/ 0 h 2"/>
                <a:gd name="T2" fmla="*/ 2 w 5"/>
                <a:gd name="T3" fmla="*/ 1 h 2"/>
                <a:gd name="T4" fmla="*/ 0 w 5"/>
                <a:gd name="T5" fmla="*/ 1 h 2"/>
                <a:gd name="T6" fmla="*/ 2 w 5"/>
                <a:gd name="T7" fmla="*/ 0 h 2"/>
                <a:gd name="T8" fmla="*/ 5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cubicBezTo>
                    <a:pt x="5" y="0"/>
                    <a:pt x="5" y="0"/>
                    <a:pt x="2" y="1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2" name="Freeform 389">
              <a:extLst>
                <a:ext uri="{FF2B5EF4-FFF2-40B4-BE49-F238E27FC236}">
                  <a16:creationId xmlns:a16="http://schemas.microsoft.com/office/drawing/2014/main" id="{87198F3E-192B-43E3-B4D1-9C5582698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838" y="2203451"/>
              <a:ext cx="39688" cy="44450"/>
            </a:xfrm>
            <a:custGeom>
              <a:avLst/>
              <a:gdLst>
                <a:gd name="T0" fmla="*/ 15 w 15"/>
                <a:gd name="T1" fmla="*/ 17 h 17"/>
                <a:gd name="T2" fmla="*/ 5 w 15"/>
                <a:gd name="T3" fmla="*/ 4 h 17"/>
                <a:gd name="T4" fmla="*/ 0 w 15"/>
                <a:gd name="T5" fmla="*/ 6 h 17"/>
                <a:gd name="T6" fmla="*/ 0 w 15"/>
                <a:gd name="T7" fmla="*/ 6 h 17"/>
                <a:gd name="T8" fmla="*/ 0 w 15"/>
                <a:gd name="T9" fmla="*/ 5 h 17"/>
                <a:gd name="T10" fmla="*/ 15 w 15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7">
                  <a:moveTo>
                    <a:pt x="15" y="17"/>
                  </a:moveTo>
                  <a:cubicBezTo>
                    <a:pt x="15" y="17"/>
                    <a:pt x="12" y="5"/>
                    <a:pt x="5" y="4"/>
                  </a:cubicBezTo>
                  <a:cubicBezTo>
                    <a:pt x="3" y="4"/>
                    <a:pt x="2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7" y="0"/>
                    <a:pt x="15" y="10"/>
                    <a:pt x="15" y="1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3" name="Freeform 390">
              <a:extLst>
                <a:ext uri="{FF2B5EF4-FFF2-40B4-BE49-F238E27FC236}">
                  <a16:creationId xmlns:a16="http://schemas.microsoft.com/office/drawing/2014/main" id="{35BDCC08-22C4-4016-A237-3620999D7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975" y="2308226"/>
              <a:ext cx="6350" cy="11113"/>
            </a:xfrm>
            <a:custGeom>
              <a:avLst/>
              <a:gdLst>
                <a:gd name="T0" fmla="*/ 2 w 2"/>
                <a:gd name="T1" fmla="*/ 3 h 4"/>
                <a:gd name="T2" fmla="*/ 1 w 2"/>
                <a:gd name="T3" fmla="*/ 1 h 4"/>
                <a:gd name="T4" fmla="*/ 2 w 2"/>
                <a:gd name="T5" fmla="*/ 0 h 4"/>
                <a:gd name="T6" fmla="*/ 2 w 2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3"/>
                  </a:moveTo>
                  <a:cubicBezTo>
                    <a:pt x="2" y="3"/>
                    <a:pt x="0" y="4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1" y="2"/>
                    <a:pt x="2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4" name="Freeform 391">
              <a:extLst>
                <a:ext uri="{FF2B5EF4-FFF2-40B4-BE49-F238E27FC236}">
                  <a16:creationId xmlns:a16="http://schemas.microsoft.com/office/drawing/2014/main" id="{4493AA21-38E4-4E70-BDBB-559C8E6659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0275" y="1946276"/>
              <a:ext cx="425450" cy="381000"/>
            </a:xfrm>
            <a:custGeom>
              <a:avLst/>
              <a:gdLst>
                <a:gd name="T0" fmla="*/ 119 w 161"/>
                <a:gd name="T1" fmla="*/ 38 h 144"/>
                <a:gd name="T2" fmla="*/ 114 w 161"/>
                <a:gd name="T3" fmla="*/ 41 h 144"/>
                <a:gd name="T4" fmla="*/ 103 w 161"/>
                <a:gd name="T5" fmla="*/ 42 h 144"/>
                <a:gd name="T6" fmla="*/ 94 w 161"/>
                <a:gd name="T7" fmla="*/ 48 h 144"/>
                <a:gd name="T8" fmla="*/ 39 w 161"/>
                <a:gd name="T9" fmla="*/ 76 h 144"/>
                <a:gd name="T10" fmla="*/ 11 w 161"/>
                <a:gd name="T11" fmla="*/ 141 h 144"/>
                <a:gd name="T12" fmla="*/ 84 w 161"/>
                <a:gd name="T13" fmla="*/ 108 h 144"/>
                <a:gd name="T14" fmla="*/ 86 w 161"/>
                <a:gd name="T15" fmla="*/ 100 h 144"/>
                <a:gd name="T16" fmla="*/ 92 w 161"/>
                <a:gd name="T17" fmla="*/ 91 h 144"/>
                <a:gd name="T18" fmla="*/ 105 w 161"/>
                <a:gd name="T19" fmla="*/ 74 h 144"/>
                <a:gd name="T20" fmla="*/ 113 w 161"/>
                <a:gd name="T21" fmla="*/ 69 h 144"/>
                <a:gd name="T22" fmla="*/ 118 w 161"/>
                <a:gd name="T23" fmla="*/ 55 h 144"/>
                <a:gd name="T24" fmla="*/ 130 w 161"/>
                <a:gd name="T25" fmla="*/ 40 h 144"/>
                <a:gd name="T26" fmla="*/ 136 w 161"/>
                <a:gd name="T27" fmla="*/ 32 h 144"/>
                <a:gd name="T28" fmla="*/ 125 w 161"/>
                <a:gd name="T29" fmla="*/ 48 h 144"/>
                <a:gd name="T30" fmla="*/ 121 w 161"/>
                <a:gd name="T31" fmla="*/ 54 h 144"/>
                <a:gd name="T32" fmla="*/ 116 w 161"/>
                <a:gd name="T33" fmla="*/ 61 h 144"/>
                <a:gd name="T34" fmla="*/ 112 w 161"/>
                <a:gd name="T35" fmla="*/ 68 h 144"/>
                <a:gd name="T36" fmla="*/ 106 w 161"/>
                <a:gd name="T37" fmla="*/ 74 h 144"/>
                <a:gd name="T38" fmla="*/ 102 w 161"/>
                <a:gd name="T39" fmla="*/ 79 h 144"/>
                <a:gd name="T40" fmla="*/ 97 w 161"/>
                <a:gd name="T41" fmla="*/ 86 h 144"/>
                <a:gd name="T42" fmla="*/ 94 w 161"/>
                <a:gd name="T43" fmla="*/ 89 h 144"/>
                <a:gd name="T44" fmla="*/ 82 w 161"/>
                <a:gd name="T45" fmla="*/ 109 h 144"/>
                <a:gd name="T46" fmla="*/ 78 w 161"/>
                <a:gd name="T47" fmla="*/ 109 h 144"/>
                <a:gd name="T48" fmla="*/ 72 w 161"/>
                <a:gd name="T49" fmla="*/ 110 h 144"/>
                <a:gd name="T50" fmla="*/ 79 w 161"/>
                <a:gd name="T51" fmla="*/ 106 h 144"/>
                <a:gd name="T52" fmla="*/ 86 w 161"/>
                <a:gd name="T53" fmla="*/ 97 h 144"/>
                <a:gd name="T54" fmla="*/ 85 w 161"/>
                <a:gd name="T55" fmla="*/ 101 h 144"/>
                <a:gd name="T56" fmla="*/ 84 w 161"/>
                <a:gd name="T57" fmla="*/ 104 h 144"/>
                <a:gd name="T58" fmla="*/ 84 w 161"/>
                <a:gd name="T59" fmla="*/ 105 h 144"/>
                <a:gd name="T60" fmla="*/ 37 w 161"/>
                <a:gd name="T61" fmla="*/ 81 h 144"/>
                <a:gd name="T62" fmla="*/ 91 w 161"/>
                <a:gd name="T63" fmla="*/ 49 h 144"/>
                <a:gd name="T64" fmla="*/ 88 w 161"/>
                <a:gd name="T65" fmla="*/ 50 h 144"/>
                <a:gd name="T66" fmla="*/ 97 w 161"/>
                <a:gd name="T67" fmla="*/ 47 h 144"/>
                <a:gd name="T68" fmla="*/ 106 w 161"/>
                <a:gd name="T69" fmla="*/ 44 h 144"/>
                <a:gd name="T70" fmla="*/ 104 w 161"/>
                <a:gd name="T71" fmla="*/ 43 h 144"/>
                <a:gd name="T72" fmla="*/ 109 w 161"/>
                <a:gd name="T73" fmla="*/ 42 h 144"/>
                <a:gd name="T74" fmla="*/ 114 w 161"/>
                <a:gd name="T75" fmla="*/ 39 h 144"/>
                <a:gd name="T76" fmla="*/ 120 w 161"/>
                <a:gd name="T77" fmla="*/ 38 h 144"/>
                <a:gd name="T78" fmla="*/ 129 w 161"/>
                <a:gd name="T79" fmla="*/ 40 h 144"/>
                <a:gd name="T80" fmla="*/ 7 w 161"/>
                <a:gd name="T81" fmla="*/ 129 h 144"/>
                <a:gd name="T82" fmla="*/ 5 w 161"/>
                <a:gd name="T83" fmla="*/ 131 h 144"/>
                <a:gd name="T84" fmla="*/ 1 w 161"/>
                <a:gd name="T85" fmla="*/ 135 h 144"/>
                <a:gd name="T86" fmla="*/ 30 w 161"/>
                <a:gd name="T87" fmla="*/ 105 h 144"/>
                <a:gd name="T88" fmla="*/ 123 w 161"/>
                <a:gd name="T89" fmla="*/ 38 h 144"/>
                <a:gd name="T90" fmla="*/ 138 w 161"/>
                <a:gd name="T91" fmla="*/ 3 h 144"/>
                <a:gd name="T92" fmla="*/ 133 w 161"/>
                <a:gd name="T93" fmla="*/ 38 h 144"/>
                <a:gd name="T94" fmla="*/ 134 w 161"/>
                <a:gd name="T95" fmla="*/ 37 h 144"/>
                <a:gd name="T96" fmla="*/ 133 w 161"/>
                <a:gd name="T97" fmla="*/ 33 h 144"/>
                <a:gd name="T98" fmla="*/ 130 w 161"/>
                <a:gd name="T99" fmla="*/ 32 h 144"/>
                <a:gd name="T100" fmla="*/ 131 w 161"/>
                <a:gd name="T101" fmla="*/ 16 h 144"/>
                <a:gd name="T102" fmla="*/ 128 w 161"/>
                <a:gd name="T103" fmla="*/ 3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1" h="144">
                  <a:moveTo>
                    <a:pt x="140" y="0"/>
                  </a:moveTo>
                  <a:cubicBezTo>
                    <a:pt x="131" y="8"/>
                    <a:pt x="125" y="20"/>
                    <a:pt x="127" y="35"/>
                  </a:cubicBezTo>
                  <a:cubicBezTo>
                    <a:pt x="126" y="35"/>
                    <a:pt x="125" y="36"/>
                    <a:pt x="124" y="36"/>
                  </a:cubicBezTo>
                  <a:cubicBezTo>
                    <a:pt x="123" y="36"/>
                    <a:pt x="121" y="36"/>
                    <a:pt x="120" y="36"/>
                  </a:cubicBezTo>
                  <a:cubicBezTo>
                    <a:pt x="119" y="36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9"/>
                  </a:cubicBezTo>
                  <a:cubicBezTo>
                    <a:pt x="118" y="38"/>
                    <a:pt x="117" y="38"/>
                    <a:pt x="115" y="38"/>
                  </a:cubicBezTo>
                  <a:cubicBezTo>
                    <a:pt x="114" y="38"/>
                    <a:pt x="114" y="39"/>
                    <a:pt x="113" y="39"/>
                  </a:cubicBezTo>
                  <a:cubicBezTo>
                    <a:pt x="113" y="39"/>
                    <a:pt x="113" y="40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2" y="41"/>
                    <a:pt x="110" y="41"/>
                    <a:pt x="108" y="41"/>
                  </a:cubicBezTo>
                  <a:cubicBezTo>
                    <a:pt x="108" y="41"/>
                    <a:pt x="108" y="43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5" y="43"/>
                    <a:pt x="104" y="43"/>
                    <a:pt x="103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2"/>
                    <a:pt x="103" y="44"/>
                    <a:pt x="103" y="45"/>
                  </a:cubicBezTo>
                  <a:cubicBezTo>
                    <a:pt x="102" y="45"/>
                    <a:pt x="101" y="46"/>
                    <a:pt x="101" y="46"/>
                  </a:cubicBezTo>
                  <a:cubicBezTo>
                    <a:pt x="100" y="45"/>
                    <a:pt x="98" y="44"/>
                    <a:pt x="96" y="44"/>
                  </a:cubicBezTo>
                  <a:cubicBezTo>
                    <a:pt x="96" y="44"/>
                    <a:pt x="97" y="45"/>
                    <a:pt x="96" y="47"/>
                  </a:cubicBezTo>
                  <a:cubicBezTo>
                    <a:pt x="96" y="47"/>
                    <a:pt x="94" y="48"/>
                    <a:pt x="94" y="48"/>
                  </a:cubicBezTo>
                  <a:cubicBezTo>
                    <a:pt x="94" y="43"/>
                    <a:pt x="93" y="43"/>
                    <a:pt x="92" y="43"/>
                  </a:cubicBezTo>
                  <a:cubicBezTo>
                    <a:pt x="89" y="43"/>
                    <a:pt x="87" y="49"/>
                    <a:pt x="84" y="52"/>
                  </a:cubicBezTo>
                  <a:cubicBezTo>
                    <a:pt x="68" y="58"/>
                    <a:pt x="53" y="68"/>
                    <a:pt x="39" y="80"/>
                  </a:cubicBezTo>
                  <a:cubicBezTo>
                    <a:pt x="39" y="79"/>
                    <a:pt x="40" y="78"/>
                    <a:pt x="40" y="77"/>
                  </a:cubicBezTo>
                  <a:cubicBezTo>
                    <a:pt x="40" y="76"/>
                    <a:pt x="40" y="76"/>
                    <a:pt x="39" y="76"/>
                  </a:cubicBezTo>
                  <a:cubicBezTo>
                    <a:pt x="34" y="81"/>
                    <a:pt x="29" y="86"/>
                    <a:pt x="26" y="93"/>
                  </a:cubicBezTo>
                  <a:cubicBezTo>
                    <a:pt x="17" y="103"/>
                    <a:pt x="2" y="124"/>
                    <a:pt x="0" y="136"/>
                  </a:cubicBezTo>
                  <a:cubicBezTo>
                    <a:pt x="0" y="136"/>
                    <a:pt x="0" y="138"/>
                    <a:pt x="1" y="138"/>
                  </a:cubicBezTo>
                  <a:cubicBezTo>
                    <a:pt x="2" y="138"/>
                    <a:pt x="3" y="136"/>
                    <a:pt x="5" y="134"/>
                  </a:cubicBezTo>
                  <a:cubicBezTo>
                    <a:pt x="3" y="143"/>
                    <a:pt x="2" y="144"/>
                    <a:pt x="11" y="141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27" y="137"/>
                    <a:pt x="49" y="126"/>
                    <a:pt x="59" y="119"/>
                  </a:cubicBezTo>
                  <a:cubicBezTo>
                    <a:pt x="62" y="118"/>
                    <a:pt x="65" y="118"/>
                    <a:pt x="68" y="117"/>
                  </a:cubicBezTo>
                  <a:cubicBezTo>
                    <a:pt x="78" y="113"/>
                    <a:pt x="82" y="110"/>
                    <a:pt x="85" y="109"/>
                  </a:cubicBezTo>
                  <a:cubicBezTo>
                    <a:pt x="85" y="108"/>
                    <a:pt x="85" y="108"/>
                    <a:pt x="84" y="108"/>
                  </a:cubicBezTo>
                  <a:cubicBezTo>
                    <a:pt x="83" y="106"/>
                    <a:pt x="86" y="105"/>
                    <a:pt x="86" y="105"/>
                  </a:cubicBezTo>
                  <a:cubicBezTo>
                    <a:pt x="86" y="104"/>
                    <a:pt x="85" y="104"/>
                    <a:pt x="85" y="104"/>
                  </a:cubicBezTo>
                  <a:cubicBezTo>
                    <a:pt x="84" y="102"/>
                    <a:pt x="86" y="101"/>
                    <a:pt x="87" y="101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5" y="98"/>
                    <a:pt x="88" y="97"/>
                    <a:pt x="88" y="95"/>
                  </a:cubicBezTo>
                  <a:cubicBezTo>
                    <a:pt x="89" y="94"/>
                    <a:pt x="91" y="92"/>
                    <a:pt x="92" y="91"/>
                  </a:cubicBezTo>
                  <a:cubicBezTo>
                    <a:pt x="103" y="87"/>
                    <a:pt x="113" y="80"/>
                    <a:pt x="100" y="82"/>
                  </a:cubicBezTo>
                  <a:cubicBezTo>
                    <a:pt x="100" y="81"/>
                    <a:pt x="101" y="81"/>
                    <a:pt x="101" y="80"/>
                  </a:cubicBezTo>
                  <a:cubicBezTo>
                    <a:pt x="102" y="80"/>
                    <a:pt x="102" y="80"/>
                    <a:pt x="103" y="81"/>
                  </a:cubicBezTo>
                  <a:cubicBezTo>
                    <a:pt x="103" y="79"/>
                    <a:pt x="104" y="78"/>
                    <a:pt x="104" y="76"/>
                  </a:cubicBezTo>
                  <a:cubicBezTo>
                    <a:pt x="104" y="75"/>
                    <a:pt x="105" y="75"/>
                    <a:pt x="105" y="74"/>
                  </a:cubicBezTo>
                  <a:cubicBezTo>
                    <a:pt x="105" y="75"/>
                    <a:pt x="105" y="74"/>
                    <a:pt x="108" y="75"/>
                  </a:cubicBezTo>
                  <a:cubicBezTo>
                    <a:pt x="108" y="75"/>
                    <a:pt x="109" y="70"/>
                    <a:pt x="109" y="69"/>
                  </a:cubicBezTo>
                  <a:cubicBezTo>
                    <a:pt x="109" y="68"/>
                    <a:pt x="109" y="68"/>
                    <a:pt x="110" y="68"/>
                  </a:cubicBezTo>
                  <a:cubicBezTo>
                    <a:pt x="111" y="68"/>
                    <a:pt x="112" y="69"/>
                    <a:pt x="112" y="69"/>
                  </a:cubicBezTo>
                  <a:cubicBezTo>
                    <a:pt x="113" y="69"/>
                    <a:pt x="113" y="69"/>
                    <a:pt x="113" y="69"/>
                  </a:cubicBezTo>
                  <a:cubicBezTo>
                    <a:pt x="113" y="67"/>
                    <a:pt x="113" y="65"/>
                    <a:pt x="113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115" y="62"/>
                    <a:pt x="116" y="62"/>
                    <a:pt x="117" y="62"/>
                  </a:cubicBezTo>
                  <a:cubicBezTo>
                    <a:pt x="117" y="57"/>
                    <a:pt x="117" y="57"/>
                    <a:pt x="118" y="56"/>
                  </a:cubicBezTo>
                  <a:cubicBezTo>
                    <a:pt x="118" y="56"/>
                    <a:pt x="118" y="55"/>
                    <a:pt x="118" y="55"/>
                  </a:cubicBezTo>
                  <a:cubicBezTo>
                    <a:pt x="122" y="55"/>
                    <a:pt x="121" y="55"/>
                    <a:pt x="121" y="55"/>
                  </a:cubicBezTo>
                  <a:cubicBezTo>
                    <a:pt x="121" y="55"/>
                    <a:pt x="122" y="52"/>
                    <a:pt x="123" y="48"/>
                  </a:cubicBezTo>
                  <a:cubicBezTo>
                    <a:pt x="124" y="49"/>
                    <a:pt x="124" y="49"/>
                    <a:pt x="126" y="49"/>
                  </a:cubicBezTo>
                  <a:cubicBezTo>
                    <a:pt x="126" y="48"/>
                    <a:pt x="126" y="46"/>
                    <a:pt x="127" y="44"/>
                  </a:cubicBezTo>
                  <a:cubicBezTo>
                    <a:pt x="131" y="39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9" y="44"/>
                    <a:pt x="151" y="44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52" y="38"/>
                    <a:pt x="143" y="36"/>
                    <a:pt x="136" y="32"/>
                  </a:cubicBezTo>
                  <a:cubicBezTo>
                    <a:pt x="134" y="21"/>
                    <a:pt x="136" y="10"/>
                    <a:pt x="140" y="0"/>
                  </a:cubicBezTo>
                  <a:close/>
                  <a:moveTo>
                    <a:pt x="123" y="48"/>
                  </a:moveTo>
                  <a:cubicBezTo>
                    <a:pt x="124" y="47"/>
                    <a:pt x="125" y="46"/>
                    <a:pt x="125" y="45"/>
                  </a:cubicBezTo>
                  <a:cubicBezTo>
                    <a:pt x="125" y="46"/>
                    <a:pt x="125" y="48"/>
                    <a:pt x="125" y="48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124" y="48"/>
                    <a:pt x="123" y="48"/>
                    <a:pt x="123" y="48"/>
                  </a:cubicBezTo>
                  <a:close/>
                  <a:moveTo>
                    <a:pt x="119" y="54"/>
                  </a:moveTo>
                  <a:cubicBezTo>
                    <a:pt x="120" y="53"/>
                    <a:pt x="121" y="52"/>
                    <a:pt x="122" y="50"/>
                  </a:cubicBezTo>
                  <a:cubicBezTo>
                    <a:pt x="121" y="52"/>
                    <a:pt x="121" y="54"/>
                    <a:pt x="121" y="54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0" y="54"/>
                    <a:pt x="120" y="54"/>
                    <a:pt x="119" y="54"/>
                  </a:cubicBezTo>
                  <a:close/>
                  <a:moveTo>
                    <a:pt x="114" y="61"/>
                  </a:moveTo>
                  <a:cubicBezTo>
                    <a:pt x="115" y="60"/>
                    <a:pt x="116" y="59"/>
                    <a:pt x="116" y="58"/>
                  </a:cubicBezTo>
                  <a:cubicBezTo>
                    <a:pt x="116" y="60"/>
                    <a:pt x="116" y="61"/>
                    <a:pt x="116" y="61"/>
                  </a:cubicBezTo>
                  <a:cubicBezTo>
                    <a:pt x="114" y="61"/>
                    <a:pt x="114" y="61"/>
                    <a:pt x="114" y="61"/>
                  </a:cubicBezTo>
                  <a:close/>
                  <a:moveTo>
                    <a:pt x="110" y="67"/>
                  </a:moveTo>
                  <a:cubicBezTo>
                    <a:pt x="111" y="66"/>
                    <a:pt x="111" y="65"/>
                    <a:pt x="112" y="64"/>
                  </a:cubicBezTo>
                  <a:cubicBezTo>
                    <a:pt x="112" y="67"/>
                    <a:pt x="112" y="67"/>
                    <a:pt x="112" y="68"/>
                  </a:cubicBezTo>
                  <a:cubicBezTo>
                    <a:pt x="112" y="68"/>
                    <a:pt x="112" y="68"/>
                    <a:pt x="112" y="68"/>
                  </a:cubicBezTo>
                  <a:cubicBezTo>
                    <a:pt x="112" y="68"/>
                    <a:pt x="111" y="68"/>
                    <a:pt x="110" y="67"/>
                  </a:cubicBezTo>
                  <a:close/>
                  <a:moveTo>
                    <a:pt x="106" y="74"/>
                  </a:moveTo>
                  <a:cubicBezTo>
                    <a:pt x="106" y="74"/>
                    <a:pt x="107" y="72"/>
                    <a:pt x="108" y="71"/>
                  </a:cubicBezTo>
                  <a:cubicBezTo>
                    <a:pt x="107" y="72"/>
                    <a:pt x="107" y="74"/>
                    <a:pt x="107" y="74"/>
                  </a:cubicBezTo>
                  <a:cubicBezTo>
                    <a:pt x="107" y="74"/>
                    <a:pt x="106" y="74"/>
                    <a:pt x="106" y="74"/>
                  </a:cubicBezTo>
                  <a:close/>
                  <a:moveTo>
                    <a:pt x="102" y="79"/>
                  </a:moveTo>
                  <a:cubicBezTo>
                    <a:pt x="102" y="79"/>
                    <a:pt x="102" y="78"/>
                    <a:pt x="103" y="78"/>
                  </a:cubicBezTo>
                  <a:cubicBezTo>
                    <a:pt x="103" y="78"/>
                    <a:pt x="103" y="78"/>
                    <a:pt x="102" y="79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102" y="79"/>
                    <a:pt x="102" y="79"/>
                    <a:pt x="102" y="79"/>
                  </a:cubicBezTo>
                  <a:close/>
                  <a:moveTo>
                    <a:pt x="94" y="89"/>
                  </a:moveTo>
                  <a:cubicBezTo>
                    <a:pt x="94" y="89"/>
                    <a:pt x="94" y="89"/>
                    <a:pt x="94" y="88"/>
                  </a:cubicBezTo>
                  <a:cubicBezTo>
                    <a:pt x="99" y="86"/>
                    <a:pt x="102" y="84"/>
                    <a:pt x="102" y="84"/>
                  </a:cubicBezTo>
                  <a:cubicBezTo>
                    <a:pt x="98" y="86"/>
                    <a:pt x="95" y="87"/>
                    <a:pt x="95" y="87"/>
                  </a:cubicBezTo>
                  <a:cubicBezTo>
                    <a:pt x="96" y="87"/>
                    <a:pt x="96" y="86"/>
                    <a:pt x="97" y="86"/>
                  </a:cubicBezTo>
                  <a:cubicBezTo>
                    <a:pt x="101" y="84"/>
                    <a:pt x="102" y="84"/>
                    <a:pt x="102" y="84"/>
                  </a:cubicBezTo>
                  <a:cubicBezTo>
                    <a:pt x="102" y="84"/>
                    <a:pt x="101" y="84"/>
                    <a:pt x="97" y="85"/>
                  </a:cubicBezTo>
                  <a:cubicBezTo>
                    <a:pt x="98" y="84"/>
                    <a:pt x="98" y="84"/>
                    <a:pt x="98" y="83"/>
                  </a:cubicBezTo>
                  <a:cubicBezTo>
                    <a:pt x="99" y="83"/>
                    <a:pt x="101" y="83"/>
                    <a:pt x="101" y="83"/>
                  </a:cubicBezTo>
                  <a:cubicBezTo>
                    <a:pt x="111" y="81"/>
                    <a:pt x="96" y="89"/>
                    <a:pt x="94" y="89"/>
                  </a:cubicBezTo>
                  <a:close/>
                  <a:moveTo>
                    <a:pt x="62" y="117"/>
                  </a:moveTo>
                  <a:cubicBezTo>
                    <a:pt x="63" y="116"/>
                    <a:pt x="64" y="116"/>
                    <a:pt x="65" y="115"/>
                  </a:cubicBezTo>
                  <a:cubicBezTo>
                    <a:pt x="70" y="114"/>
                    <a:pt x="74" y="112"/>
                    <a:pt x="77" y="111"/>
                  </a:cubicBezTo>
                  <a:cubicBezTo>
                    <a:pt x="78" y="110"/>
                    <a:pt x="80" y="110"/>
                    <a:pt x="81" y="109"/>
                  </a:cubicBezTo>
                  <a:cubicBezTo>
                    <a:pt x="81" y="109"/>
                    <a:pt x="82" y="109"/>
                    <a:pt x="82" y="109"/>
                  </a:cubicBezTo>
                  <a:cubicBezTo>
                    <a:pt x="82" y="109"/>
                    <a:pt x="81" y="109"/>
                    <a:pt x="81" y="109"/>
                  </a:cubicBezTo>
                  <a:cubicBezTo>
                    <a:pt x="80" y="110"/>
                    <a:pt x="78" y="110"/>
                    <a:pt x="76" y="111"/>
                  </a:cubicBezTo>
                  <a:cubicBezTo>
                    <a:pt x="74" y="112"/>
                    <a:pt x="71" y="112"/>
                    <a:pt x="67" y="113"/>
                  </a:cubicBezTo>
                  <a:cubicBezTo>
                    <a:pt x="68" y="113"/>
                    <a:pt x="69" y="112"/>
                    <a:pt x="70" y="111"/>
                  </a:cubicBezTo>
                  <a:cubicBezTo>
                    <a:pt x="73" y="110"/>
                    <a:pt x="76" y="109"/>
                    <a:pt x="78" y="109"/>
                  </a:cubicBezTo>
                  <a:cubicBezTo>
                    <a:pt x="79" y="108"/>
                    <a:pt x="81" y="108"/>
                    <a:pt x="81" y="107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2" y="107"/>
                    <a:pt x="82" y="107"/>
                    <a:pt x="81" y="107"/>
                  </a:cubicBezTo>
                  <a:cubicBezTo>
                    <a:pt x="80" y="107"/>
                    <a:pt x="79" y="108"/>
                    <a:pt x="78" y="108"/>
                  </a:cubicBezTo>
                  <a:cubicBezTo>
                    <a:pt x="76" y="109"/>
                    <a:pt x="74" y="109"/>
                    <a:pt x="72" y="110"/>
                  </a:cubicBezTo>
                  <a:cubicBezTo>
                    <a:pt x="73" y="109"/>
                    <a:pt x="74" y="108"/>
                    <a:pt x="74" y="108"/>
                  </a:cubicBezTo>
                  <a:cubicBezTo>
                    <a:pt x="76" y="107"/>
                    <a:pt x="78" y="107"/>
                    <a:pt x="80" y="106"/>
                  </a:cubicBezTo>
                  <a:cubicBezTo>
                    <a:pt x="81" y="106"/>
                    <a:pt x="82" y="105"/>
                    <a:pt x="82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83" y="105"/>
                    <a:pt x="82" y="105"/>
                    <a:pt x="79" y="106"/>
                  </a:cubicBezTo>
                  <a:cubicBezTo>
                    <a:pt x="78" y="106"/>
                    <a:pt x="77" y="106"/>
                    <a:pt x="76" y="106"/>
                  </a:cubicBezTo>
                  <a:cubicBezTo>
                    <a:pt x="77" y="105"/>
                    <a:pt x="78" y="105"/>
                    <a:pt x="79" y="104"/>
                  </a:cubicBezTo>
                  <a:cubicBezTo>
                    <a:pt x="81" y="103"/>
                    <a:pt x="82" y="103"/>
                    <a:pt x="83" y="103"/>
                  </a:cubicBezTo>
                  <a:cubicBezTo>
                    <a:pt x="82" y="103"/>
                    <a:pt x="82" y="103"/>
                    <a:pt x="80" y="103"/>
                  </a:cubicBezTo>
                  <a:cubicBezTo>
                    <a:pt x="82" y="101"/>
                    <a:pt x="84" y="99"/>
                    <a:pt x="86" y="97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86" y="98"/>
                    <a:pt x="85" y="99"/>
                    <a:pt x="85" y="100"/>
                  </a:cubicBezTo>
                  <a:cubicBezTo>
                    <a:pt x="85" y="100"/>
                    <a:pt x="85" y="101"/>
                    <a:pt x="85" y="101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5" y="101"/>
                    <a:pt x="83" y="102"/>
                    <a:pt x="84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3" y="106"/>
                    <a:pt x="83" y="108"/>
                    <a:pt x="84" y="109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0" y="111"/>
                    <a:pt x="76" y="113"/>
                    <a:pt x="62" y="117"/>
                  </a:cubicBezTo>
                  <a:close/>
                  <a:moveTo>
                    <a:pt x="39" y="77"/>
                  </a:moveTo>
                  <a:cubicBezTo>
                    <a:pt x="39" y="78"/>
                    <a:pt x="37" y="81"/>
                    <a:pt x="37" y="81"/>
                  </a:cubicBezTo>
                  <a:cubicBezTo>
                    <a:pt x="34" y="84"/>
                    <a:pt x="28" y="90"/>
                    <a:pt x="28" y="90"/>
                  </a:cubicBezTo>
                  <a:cubicBezTo>
                    <a:pt x="30" y="89"/>
                    <a:pt x="34" y="82"/>
                    <a:pt x="38" y="78"/>
                  </a:cubicBezTo>
                  <a:cubicBezTo>
                    <a:pt x="39" y="78"/>
                    <a:pt x="39" y="77"/>
                    <a:pt x="39" y="77"/>
                  </a:cubicBezTo>
                  <a:close/>
                  <a:moveTo>
                    <a:pt x="92" y="49"/>
                  </a:moveTo>
                  <a:cubicBezTo>
                    <a:pt x="92" y="49"/>
                    <a:pt x="91" y="49"/>
                    <a:pt x="91" y="49"/>
                  </a:cubicBezTo>
                  <a:cubicBezTo>
                    <a:pt x="92" y="47"/>
                    <a:pt x="92" y="46"/>
                    <a:pt x="92" y="45"/>
                  </a:cubicBezTo>
                  <a:cubicBezTo>
                    <a:pt x="91" y="47"/>
                    <a:pt x="92" y="43"/>
                    <a:pt x="90" y="49"/>
                  </a:cubicBezTo>
                  <a:cubicBezTo>
                    <a:pt x="90" y="49"/>
                    <a:pt x="89" y="50"/>
                    <a:pt x="89" y="50"/>
                  </a:cubicBezTo>
                  <a:cubicBezTo>
                    <a:pt x="90" y="47"/>
                    <a:pt x="91" y="45"/>
                    <a:pt x="91" y="45"/>
                  </a:cubicBezTo>
                  <a:cubicBezTo>
                    <a:pt x="86" y="53"/>
                    <a:pt x="89" y="49"/>
                    <a:pt x="88" y="50"/>
                  </a:cubicBezTo>
                  <a:cubicBezTo>
                    <a:pt x="88" y="50"/>
                    <a:pt x="87" y="51"/>
                    <a:pt x="87" y="51"/>
                  </a:cubicBezTo>
                  <a:cubicBezTo>
                    <a:pt x="88" y="49"/>
                    <a:pt x="90" y="45"/>
                    <a:pt x="91" y="44"/>
                  </a:cubicBezTo>
                  <a:cubicBezTo>
                    <a:pt x="93" y="43"/>
                    <a:pt x="93" y="47"/>
                    <a:pt x="92" y="49"/>
                  </a:cubicBezTo>
                  <a:close/>
                  <a:moveTo>
                    <a:pt x="100" y="46"/>
                  </a:moveTo>
                  <a:cubicBezTo>
                    <a:pt x="99" y="46"/>
                    <a:pt x="98" y="47"/>
                    <a:pt x="97" y="47"/>
                  </a:cubicBezTo>
                  <a:cubicBezTo>
                    <a:pt x="97" y="46"/>
                    <a:pt x="97" y="45"/>
                    <a:pt x="97" y="45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8" y="45"/>
                    <a:pt x="99" y="46"/>
                    <a:pt x="100" y="46"/>
                  </a:cubicBezTo>
                  <a:close/>
                  <a:moveTo>
                    <a:pt x="106" y="44"/>
                  </a:moveTo>
                  <a:cubicBezTo>
                    <a:pt x="105" y="44"/>
                    <a:pt x="104" y="45"/>
                    <a:pt x="103" y="45"/>
                  </a:cubicBezTo>
                  <a:cubicBezTo>
                    <a:pt x="103" y="44"/>
                    <a:pt x="104" y="44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4"/>
                    <a:pt x="105" y="44"/>
                    <a:pt x="106" y="44"/>
                  </a:cubicBezTo>
                  <a:close/>
                  <a:moveTo>
                    <a:pt x="112" y="42"/>
                  </a:moveTo>
                  <a:cubicBezTo>
                    <a:pt x="111" y="42"/>
                    <a:pt x="110" y="43"/>
                    <a:pt x="109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12" y="42"/>
                    <a:pt x="112" y="42"/>
                  </a:cubicBezTo>
                  <a:close/>
                  <a:moveTo>
                    <a:pt x="117" y="39"/>
                  </a:moveTo>
                  <a:cubicBezTo>
                    <a:pt x="117" y="40"/>
                    <a:pt x="116" y="40"/>
                    <a:pt x="114" y="41"/>
                  </a:cubicBezTo>
                  <a:cubicBezTo>
                    <a:pt x="114" y="40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5" y="39"/>
                    <a:pt x="117" y="39"/>
                    <a:pt x="117" y="39"/>
                  </a:cubicBezTo>
                  <a:close/>
                  <a:moveTo>
                    <a:pt x="122" y="37"/>
                  </a:moveTo>
                  <a:cubicBezTo>
                    <a:pt x="121" y="37"/>
                    <a:pt x="121" y="38"/>
                    <a:pt x="120" y="38"/>
                  </a:cubicBezTo>
                  <a:cubicBezTo>
                    <a:pt x="119" y="37"/>
                    <a:pt x="120" y="37"/>
                    <a:pt x="122" y="37"/>
                  </a:cubicBezTo>
                  <a:close/>
                  <a:moveTo>
                    <a:pt x="129" y="35"/>
                  </a:moveTo>
                  <a:cubicBezTo>
                    <a:pt x="130" y="34"/>
                    <a:pt x="131" y="33"/>
                    <a:pt x="132" y="34"/>
                  </a:cubicBezTo>
                  <a:cubicBezTo>
                    <a:pt x="133" y="34"/>
                    <a:pt x="133" y="36"/>
                    <a:pt x="132" y="37"/>
                  </a:cubicBezTo>
                  <a:cubicBezTo>
                    <a:pt x="132" y="38"/>
                    <a:pt x="130" y="39"/>
                    <a:pt x="129" y="40"/>
                  </a:cubicBezTo>
                  <a:cubicBezTo>
                    <a:pt x="127" y="41"/>
                    <a:pt x="126" y="43"/>
                    <a:pt x="124" y="45"/>
                  </a:cubicBezTo>
                  <a:cubicBezTo>
                    <a:pt x="111" y="62"/>
                    <a:pt x="100" y="87"/>
                    <a:pt x="67" y="112"/>
                  </a:cubicBezTo>
                  <a:cubicBezTo>
                    <a:pt x="46" y="128"/>
                    <a:pt x="20" y="139"/>
                    <a:pt x="7" y="141"/>
                  </a:cubicBezTo>
                  <a:cubicBezTo>
                    <a:pt x="5" y="142"/>
                    <a:pt x="4" y="142"/>
                    <a:pt x="4" y="140"/>
                  </a:cubicBezTo>
                  <a:cubicBezTo>
                    <a:pt x="5" y="139"/>
                    <a:pt x="6" y="131"/>
                    <a:pt x="7" y="129"/>
                  </a:cubicBezTo>
                  <a:cubicBezTo>
                    <a:pt x="7" y="128"/>
                    <a:pt x="8" y="128"/>
                    <a:pt x="9" y="128"/>
                  </a:cubicBezTo>
                  <a:cubicBezTo>
                    <a:pt x="12" y="129"/>
                    <a:pt x="8" y="134"/>
                    <a:pt x="7" y="136"/>
                  </a:cubicBezTo>
                  <a:cubicBezTo>
                    <a:pt x="9" y="134"/>
                    <a:pt x="11" y="131"/>
                    <a:pt x="11" y="128"/>
                  </a:cubicBezTo>
                  <a:cubicBezTo>
                    <a:pt x="10" y="126"/>
                    <a:pt x="8" y="126"/>
                    <a:pt x="7" y="128"/>
                  </a:cubicBezTo>
                  <a:cubicBezTo>
                    <a:pt x="6" y="129"/>
                    <a:pt x="5" y="130"/>
                    <a:pt x="5" y="131"/>
                  </a:cubicBezTo>
                  <a:cubicBezTo>
                    <a:pt x="4" y="132"/>
                    <a:pt x="3" y="134"/>
                    <a:pt x="3" y="135"/>
                  </a:cubicBezTo>
                  <a:cubicBezTo>
                    <a:pt x="3" y="135"/>
                    <a:pt x="4" y="134"/>
                    <a:pt x="5" y="131"/>
                  </a:cubicBezTo>
                  <a:cubicBezTo>
                    <a:pt x="5" y="134"/>
                    <a:pt x="3" y="135"/>
                    <a:pt x="1" y="137"/>
                  </a:cubicBezTo>
                  <a:cubicBezTo>
                    <a:pt x="1" y="137"/>
                    <a:pt x="1" y="138"/>
                    <a:pt x="1" y="137"/>
                  </a:cubicBezTo>
                  <a:cubicBezTo>
                    <a:pt x="0" y="137"/>
                    <a:pt x="1" y="136"/>
                    <a:pt x="1" y="135"/>
                  </a:cubicBezTo>
                  <a:cubicBezTo>
                    <a:pt x="2" y="133"/>
                    <a:pt x="3" y="131"/>
                    <a:pt x="4" y="128"/>
                  </a:cubicBezTo>
                  <a:cubicBezTo>
                    <a:pt x="6" y="122"/>
                    <a:pt x="9" y="116"/>
                    <a:pt x="14" y="111"/>
                  </a:cubicBezTo>
                  <a:cubicBezTo>
                    <a:pt x="16" y="108"/>
                    <a:pt x="22" y="104"/>
                    <a:pt x="25" y="104"/>
                  </a:cubicBezTo>
                  <a:cubicBezTo>
                    <a:pt x="31" y="104"/>
                    <a:pt x="35" y="114"/>
                    <a:pt x="35" y="122"/>
                  </a:cubicBezTo>
                  <a:cubicBezTo>
                    <a:pt x="36" y="117"/>
                    <a:pt x="34" y="110"/>
                    <a:pt x="30" y="105"/>
                  </a:cubicBezTo>
                  <a:cubicBezTo>
                    <a:pt x="26" y="101"/>
                    <a:pt x="22" y="103"/>
                    <a:pt x="17" y="106"/>
                  </a:cubicBezTo>
                  <a:cubicBezTo>
                    <a:pt x="35" y="84"/>
                    <a:pt x="52" y="67"/>
                    <a:pt x="86" y="52"/>
                  </a:cubicBezTo>
                  <a:cubicBezTo>
                    <a:pt x="91" y="50"/>
                    <a:pt x="96" y="48"/>
                    <a:pt x="101" y="47"/>
                  </a:cubicBezTo>
                  <a:cubicBezTo>
                    <a:pt x="105" y="46"/>
                    <a:pt x="109" y="44"/>
                    <a:pt x="113" y="43"/>
                  </a:cubicBezTo>
                  <a:cubicBezTo>
                    <a:pt x="116" y="41"/>
                    <a:pt x="120" y="39"/>
                    <a:pt x="123" y="38"/>
                  </a:cubicBezTo>
                  <a:cubicBezTo>
                    <a:pt x="124" y="37"/>
                    <a:pt x="125" y="37"/>
                    <a:pt x="126" y="36"/>
                  </a:cubicBezTo>
                  <a:cubicBezTo>
                    <a:pt x="126" y="36"/>
                    <a:pt x="127" y="36"/>
                    <a:pt x="128" y="36"/>
                  </a:cubicBezTo>
                  <a:cubicBezTo>
                    <a:pt x="128" y="35"/>
                    <a:pt x="128" y="35"/>
                    <a:pt x="129" y="35"/>
                  </a:cubicBezTo>
                  <a:close/>
                  <a:moveTo>
                    <a:pt x="129" y="18"/>
                  </a:moveTo>
                  <a:cubicBezTo>
                    <a:pt x="131" y="14"/>
                    <a:pt x="137" y="4"/>
                    <a:pt x="138" y="3"/>
                  </a:cubicBezTo>
                  <a:cubicBezTo>
                    <a:pt x="135" y="10"/>
                    <a:pt x="132" y="25"/>
                    <a:pt x="135" y="33"/>
                  </a:cubicBezTo>
                  <a:cubicBezTo>
                    <a:pt x="140" y="35"/>
                    <a:pt x="149" y="39"/>
                    <a:pt x="158" y="39"/>
                  </a:cubicBezTo>
                  <a:cubicBezTo>
                    <a:pt x="149" y="42"/>
                    <a:pt x="140" y="43"/>
                    <a:pt x="131" y="39"/>
                  </a:cubicBezTo>
                  <a:cubicBezTo>
                    <a:pt x="131" y="39"/>
                    <a:pt x="132" y="39"/>
                    <a:pt x="132" y="39"/>
                  </a:cubicBezTo>
                  <a:cubicBezTo>
                    <a:pt x="132" y="39"/>
                    <a:pt x="132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6" y="40"/>
                    <a:pt x="142" y="41"/>
                  </a:cubicBezTo>
                  <a:cubicBezTo>
                    <a:pt x="148" y="41"/>
                    <a:pt x="151" y="40"/>
                    <a:pt x="151" y="40"/>
                  </a:cubicBezTo>
                  <a:cubicBezTo>
                    <a:pt x="146" y="40"/>
                    <a:pt x="144" y="40"/>
                    <a:pt x="142" y="40"/>
                  </a:cubicBezTo>
                  <a:cubicBezTo>
                    <a:pt x="139" y="40"/>
                    <a:pt x="135" y="38"/>
                    <a:pt x="134" y="37"/>
                  </a:cubicBezTo>
                  <a:cubicBezTo>
                    <a:pt x="134" y="37"/>
                    <a:pt x="134" y="37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44" y="40"/>
                    <a:pt x="150" y="39"/>
                    <a:pt x="151" y="39"/>
                  </a:cubicBezTo>
                  <a:cubicBezTo>
                    <a:pt x="144" y="39"/>
                    <a:pt x="136" y="36"/>
                    <a:pt x="134" y="35"/>
                  </a:cubicBezTo>
                  <a:cubicBezTo>
                    <a:pt x="134" y="35"/>
                    <a:pt x="134" y="34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2" y="25"/>
                    <a:pt x="132" y="23"/>
                    <a:pt x="134" y="13"/>
                  </a:cubicBezTo>
                  <a:cubicBezTo>
                    <a:pt x="134" y="14"/>
                    <a:pt x="131" y="20"/>
                    <a:pt x="132" y="32"/>
                  </a:cubicBezTo>
                  <a:cubicBezTo>
                    <a:pt x="132" y="32"/>
                    <a:pt x="131" y="32"/>
                    <a:pt x="131" y="32"/>
                  </a:cubicBezTo>
                  <a:cubicBezTo>
                    <a:pt x="131" y="32"/>
                    <a:pt x="130" y="32"/>
                    <a:pt x="130" y="32"/>
                  </a:cubicBezTo>
                  <a:cubicBezTo>
                    <a:pt x="130" y="31"/>
                    <a:pt x="130" y="20"/>
                    <a:pt x="132" y="16"/>
                  </a:cubicBezTo>
                  <a:cubicBezTo>
                    <a:pt x="132" y="14"/>
                    <a:pt x="133" y="13"/>
                    <a:pt x="133" y="12"/>
                  </a:cubicBezTo>
                  <a:cubicBezTo>
                    <a:pt x="134" y="11"/>
                    <a:pt x="134" y="10"/>
                    <a:pt x="134" y="10"/>
                  </a:cubicBezTo>
                  <a:cubicBezTo>
                    <a:pt x="134" y="10"/>
                    <a:pt x="134" y="11"/>
                    <a:pt x="133" y="12"/>
                  </a:cubicBezTo>
                  <a:cubicBezTo>
                    <a:pt x="132" y="13"/>
                    <a:pt x="132" y="14"/>
                    <a:pt x="131" y="16"/>
                  </a:cubicBezTo>
                  <a:cubicBezTo>
                    <a:pt x="131" y="19"/>
                    <a:pt x="130" y="22"/>
                    <a:pt x="130" y="24"/>
                  </a:cubicBezTo>
                  <a:cubicBezTo>
                    <a:pt x="130" y="26"/>
                    <a:pt x="130" y="27"/>
                    <a:pt x="130" y="28"/>
                  </a:cubicBezTo>
                  <a:cubicBezTo>
                    <a:pt x="129" y="30"/>
                    <a:pt x="129" y="31"/>
                    <a:pt x="129" y="32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29" y="34"/>
                    <a:pt x="128" y="34"/>
                    <a:pt x="128" y="34"/>
                  </a:cubicBezTo>
                  <a:cubicBezTo>
                    <a:pt x="128" y="28"/>
                    <a:pt x="128" y="22"/>
                    <a:pt x="129" y="1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5" name="Freeform 392">
              <a:extLst>
                <a:ext uri="{FF2B5EF4-FFF2-40B4-BE49-F238E27FC236}">
                  <a16:creationId xmlns:a16="http://schemas.microsoft.com/office/drawing/2014/main" id="{B227D799-93E4-4BF4-BCC4-80B787672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2513" y="2109788"/>
              <a:ext cx="157163" cy="149225"/>
            </a:xfrm>
            <a:custGeom>
              <a:avLst/>
              <a:gdLst>
                <a:gd name="T0" fmla="*/ 54 w 60"/>
                <a:gd name="T1" fmla="*/ 6 h 56"/>
                <a:gd name="T2" fmla="*/ 46 w 60"/>
                <a:gd name="T3" fmla="*/ 16 h 56"/>
                <a:gd name="T4" fmla="*/ 31 w 60"/>
                <a:gd name="T5" fmla="*/ 31 h 56"/>
                <a:gd name="T6" fmla="*/ 15 w 60"/>
                <a:gd name="T7" fmla="*/ 45 h 56"/>
                <a:gd name="T8" fmla="*/ 12 w 60"/>
                <a:gd name="T9" fmla="*/ 47 h 56"/>
                <a:gd name="T10" fmla="*/ 10 w 60"/>
                <a:gd name="T11" fmla="*/ 49 h 56"/>
                <a:gd name="T12" fmla="*/ 6 w 60"/>
                <a:gd name="T13" fmla="*/ 52 h 56"/>
                <a:gd name="T14" fmla="*/ 3 w 60"/>
                <a:gd name="T15" fmla="*/ 54 h 56"/>
                <a:gd name="T16" fmla="*/ 1 w 60"/>
                <a:gd name="T17" fmla="*/ 55 h 56"/>
                <a:gd name="T18" fmla="*/ 0 w 60"/>
                <a:gd name="T19" fmla="*/ 56 h 56"/>
                <a:gd name="T20" fmla="*/ 1 w 60"/>
                <a:gd name="T21" fmla="*/ 55 h 56"/>
                <a:gd name="T22" fmla="*/ 6 w 60"/>
                <a:gd name="T23" fmla="*/ 51 h 56"/>
                <a:gd name="T24" fmla="*/ 31 w 60"/>
                <a:gd name="T25" fmla="*/ 31 h 56"/>
                <a:gd name="T26" fmla="*/ 46 w 60"/>
                <a:gd name="T27" fmla="*/ 16 h 56"/>
                <a:gd name="T28" fmla="*/ 54 w 60"/>
                <a:gd name="T29" fmla="*/ 6 h 56"/>
                <a:gd name="T30" fmla="*/ 58 w 60"/>
                <a:gd name="T31" fmla="*/ 1 h 56"/>
                <a:gd name="T32" fmla="*/ 60 w 60"/>
                <a:gd name="T33" fmla="*/ 0 h 56"/>
                <a:gd name="T34" fmla="*/ 58 w 60"/>
                <a:gd name="T35" fmla="*/ 1 h 56"/>
                <a:gd name="T36" fmla="*/ 54 w 60"/>
                <a:gd name="T37" fmla="*/ 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56">
                  <a:moveTo>
                    <a:pt x="54" y="6"/>
                  </a:moveTo>
                  <a:cubicBezTo>
                    <a:pt x="52" y="9"/>
                    <a:pt x="50" y="12"/>
                    <a:pt x="46" y="16"/>
                  </a:cubicBezTo>
                  <a:cubicBezTo>
                    <a:pt x="42" y="21"/>
                    <a:pt x="37" y="26"/>
                    <a:pt x="31" y="31"/>
                  </a:cubicBezTo>
                  <a:cubicBezTo>
                    <a:pt x="25" y="37"/>
                    <a:pt x="20" y="42"/>
                    <a:pt x="15" y="45"/>
                  </a:cubicBezTo>
                  <a:cubicBezTo>
                    <a:pt x="14" y="46"/>
                    <a:pt x="13" y="46"/>
                    <a:pt x="12" y="47"/>
                  </a:cubicBezTo>
                  <a:cubicBezTo>
                    <a:pt x="12" y="48"/>
                    <a:pt x="11" y="49"/>
                    <a:pt x="10" y="49"/>
                  </a:cubicBezTo>
                  <a:cubicBezTo>
                    <a:pt x="8" y="50"/>
                    <a:pt x="7" y="51"/>
                    <a:pt x="6" y="52"/>
                  </a:cubicBezTo>
                  <a:cubicBezTo>
                    <a:pt x="4" y="53"/>
                    <a:pt x="3" y="54"/>
                    <a:pt x="3" y="54"/>
                  </a:cubicBezTo>
                  <a:cubicBezTo>
                    <a:pt x="2" y="55"/>
                    <a:pt x="1" y="55"/>
                    <a:pt x="1" y="5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0" y="56"/>
                    <a:pt x="1" y="55"/>
                  </a:cubicBezTo>
                  <a:cubicBezTo>
                    <a:pt x="2" y="54"/>
                    <a:pt x="4" y="53"/>
                    <a:pt x="6" y="51"/>
                  </a:cubicBezTo>
                  <a:cubicBezTo>
                    <a:pt x="11" y="47"/>
                    <a:pt x="19" y="41"/>
                    <a:pt x="31" y="31"/>
                  </a:cubicBezTo>
                  <a:cubicBezTo>
                    <a:pt x="37" y="25"/>
                    <a:pt x="42" y="20"/>
                    <a:pt x="46" y="16"/>
                  </a:cubicBezTo>
                  <a:cubicBezTo>
                    <a:pt x="49" y="12"/>
                    <a:pt x="52" y="8"/>
                    <a:pt x="54" y="6"/>
                  </a:cubicBezTo>
                  <a:cubicBezTo>
                    <a:pt x="56" y="4"/>
                    <a:pt x="58" y="2"/>
                    <a:pt x="58" y="1"/>
                  </a:cubicBezTo>
                  <a:cubicBezTo>
                    <a:pt x="59" y="0"/>
                    <a:pt x="60" y="0"/>
                    <a:pt x="60" y="0"/>
                  </a:cubicBezTo>
                  <a:cubicBezTo>
                    <a:pt x="60" y="0"/>
                    <a:pt x="59" y="0"/>
                    <a:pt x="58" y="1"/>
                  </a:cubicBezTo>
                  <a:cubicBezTo>
                    <a:pt x="58" y="2"/>
                    <a:pt x="56" y="4"/>
                    <a:pt x="54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6" name="Freeform 393">
              <a:extLst>
                <a:ext uri="{FF2B5EF4-FFF2-40B4-BE49-F238E27FC236}">
                  <a16:creationId xmlns:a16="http://schemas.microsoft.com/office/drawing/2014/main" id="{7BA95E6F-373E-4B0F-8C98-9B9AC957A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5525" y="2101851"/>
              <a:ext cx="115888" cy="82550"/>
            </a:xfrm>
            <a:custGeom>
              <a:avLst/>
              <a:gdLst>
                <a:gd name="T0" fmla="*/ 32 w 44"/>
                <a:gd name="T1" fmla="*/ 7 h 31"/>
                <a:gd name="T2" fmla="*/ 21 w 44"/>
                <a:gd name="T3" fmla="*/ 15 h 31"/>
                <a:gd name="T4" fmla="*/ 10 w 44"/>
                <a:gd name="T5" fmla="*/ 23 h 31"/>
                <a:gd name="T6" fmla="*/ 8 w 44"/>
                <a:gd name="T7" fmla="*/ 24 h 31"/>
                <a:gd name="T8" fmla="*/ 6 w 44"/>
                <a:gd name="T9" fmla="*/ 26 h 31"/>
                <a:gd name="T10" fmla="*/ 4 w 44"/>
                <a:gd name="T11" fmla="*/ 28 h 31"/>
                <a:gd name="T12" fmla="*/ 1 w 44"/>
                <a:gd name="T13" fmla="*/ 30 h 31"/>
                <a:gd name="T14" fmla="*/ 0 w 44"/>
                <a:gd name="T15" fmla="*/ 31 h 31"/>
                <a:gd name="T16" fmla="*/ 1 w 44"/>
                <a:gd name="T17" fmla="*/ 30 h 31"/>
                <a:gd name="T18" fmla="*/ 4 w 44"/>
                <a:gd name="T19" fmla="*/ 27 h 31"/>
                <a:gd name="T20" fmla="*/ 20 w 44"/>
                <a:gd name="T21" fmla="*/ 14 h 31"/>
                <a:gd name="T22" fmla="*/ 32 w 44"/>
                <a:gd name="T23" fmla="*/ 6 h 31"/>
                <a:gd name="T24" fmla="*/ 39 w 44"/>
                <a:gd name="T25" fmla="*/ 2 h 31"/>
                <a:gd name="T26" fmla="*/ 43 w 44"/>
                <a:gd name="T27" fmla="*/ 1 h 31"/>
                <a:gd name="T28" fmla="*/ 44 w 44"/>
                <a:gd name="T29" fmla="*/ 0 h 31"/>
                <a:gd name="T30" fmla="*/ 43 w 44"/>
                <a:gd name="T31" fmla="*/ 1 h 31"/>
                <a:gd name="T32" fmla="*/ 39 w 44"/>
                <a:gd name="T33" fmla="*/ 3 h 31"/>
                <a:gd name="T34" fmla="*/ 32 w 44"/>
                <a:gd name="T35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" h="31">
                  <a:moveTo>
                    <a:pt x="32" y="7"/>
                  </a:moveTo>
                  <a:cubicBezTo>
                    <a:pt x="29" y="9"/>
                    <a:pt x="25" y="12"/>
                    <a:pt x="21" y="15"/>
                  </a:cubicBezTo>
                  <a:cubicBezTo>
                    <a:pt x="16" y="18"/>
                    <a:pt x="13" y="21"/>
                    <a:pt x="10" y="23"/>
                  </a:cubicBezTo>
                  <a:cubicBezTo>
                    <a:pt x="9" y="23"/>
                    <a:pt x="9" y="24"/>
                    <a:pt x="8" y="24"/>
                  </a:cubicBezTo>
                  <a:cubicBezTo>
                    <a:pt x="8" y="25"/>
                    <a:pt x="7" y="25"/>
                    <a:pt x="6" y="26"/>
                  </a:cubicBezTo>
                  <a:cubicBezTo>
                    <a:pt x="5" y="27"/>
                    <a:pt x="5" y="27"/>
                    <a:pt x="4" y="28"/>
                  </a:cubicBezTo>
                  <a:cubicBezTo>
                    <a:pt x="2" y="29"/>
                    <a:pt x="2" y="30"/>
                    <a:pt x="1" y="3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1"/>
                    <a:pt x="1" y="30"/>
                  </a:cubicBezTo>
                  <a:cubicBezTo>
                    <a:pt x="2" y="29"/>
                    <a:pt x="3" y="28"/>
                    <a:pt x="4" y="27"/>
                  </a:cubicBezTo>
                  <a:cubicBezTo>
                    <a:pt x="7" y="24"/>
                    <a:pt x="12" y="20"/>
                    <a:pt x="20" y="14"/>
                  </a:cubicBezTo>
                  <a:cubicBezTo>
                    <a:pt x="25" y="11"/>
                    <a:pt x="29" y="8"/>
                    <a:pt x="32" y="6"/>
                  </a:cubicBezTo>
                  <a:cubicBezTo>
                    <a:pt x="35" y="5"/>
                    <a:pt x="37" y="3"/>
                    <a:pt x="39" y="2"/>
                  </a:cubicBezTo>
                  <a:cubicBezTo>
                    <a:pt x="41" y="1"/>
                    <a:pt x="42" y="1"/>
                    <a:pt x="43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4" y="0"/>
                    <a:pt x="43" y="1"/>
                  </a:cubicBezTo>
                  <a:cubicBezTo>
                    <a:pt x="42" y="1"/>
                    <a:pt x="41" y="2"/>
                    <a:pt x="39" y="3"/>
                  </a:cubicBezTo>
                  <a:cubicBezTo>
                    <a:pt x="37" y="4"/>
                    <a:pt x="35" y="5"/>
                    <a:pt x="32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7" name="Freeform 394">
              <a:extLst>
                <a:ext uri="{FF2B5EF4-FFF2-40B4-BE49-F238E27FC236}">
                  <a16:creationId xmlns:a16="http://schemas.microsoft.com/office/drawing/2014/main" id="{6405AF38-6DDF-4E5A-B4A6-84603D918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4900" y="2124076"/>
              <a:ext cx="63500" cy="49213"/>
            </a:xfrm>
            <a:custGeom>
              <a:avLst/>
              <a:gdLst>
                <a:gd name="T0" fmla="*/ 12 w 24"/>
                <a:gd name="T1" fmla="*/ 10 h 19"/>
                <a:gd name="T2" fmla="*/ 0 w 24"/>
                <a:gd name="T3" fmla="*/ 19 h 19"/>
                <a:gd name="T4" fmla="*/ 12 w 24"/>
                <a:gd name="T5" fmla="*/ 10 h 19"/>
                <a:gd name="T6" fmla="*/ 24 w 24"/>
                <a:gd name="T7" fmla="*/ 0 h 19"/>
                <a:gd name="T8" fmla="*/ 12 w 24"/>
                <a:gd name="T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9">
                  <a:moveTo>
                    <a:pt x="12" y="10"/>
                  </a:moveTo>
                  <a:cubicBezTo>
                    <a:pt x="2" y="18"/>
                    <a:pt x="0" y="19"/>
                    <a:pt x="0" y="19"/>
                  </a:cubicBezTo>
                  <a:cubicBezTo>
                    <a:pt x="0" y="19"/>
                    <a:pt x="3" y="17"/>
                    <a:pt x="12" y="10"/>
                  </a:cubicBezTo>
                  <a:cubicBezTo>
                    <a:pt x="21" y="2"/>
                    <a:pt x="24" y="0"/>
                    <a:pt x="24" y="0"/>
                  </a:cubicBezTo>
                  <a:cubicBezTo>
                    <a:pt x="24" y="0"/>
                    <a:pt x="22" y="2"/>
                    <a:pt x="1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8" name="Freeform 395">
              <a:extLst>
                <a:ext uri="{FF2B5EF4-FFF2-40B4-BE49-F238E27FC236}">
                  <a16:creationId xmlns:a16="http://schemas.microsoft.com/office/drawing/2014/main" id="{D49F33A2-0C7A-482D-9E99-94916A4F1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7263" y="2036763"/>
              <a:ext cx="322263" cy="277813"/>
            </a:xfrm>
            <a:custGeom>
              <a:avLst/>
              <a:gdLst>
                <a:gd name="T0" fmla="*/ 121 w 122"/>
                <a:gd name="T1" fmla="*/ 0 h 105"/>
                <a:gd name="T2" fmla="*/ 122 w 122"/>
                <a:gd name="T3" fmla="*/ 2 h 105"/>
                <a:gd name="T4" fmla="*/ 121 w 122"/>
                <a:gd name="T5" fmla="*/ 3 h 105"/>
                <a:gd name="T6" fmla="*/ 119 w 122"/>
                <a:gd name="T7" fmla="*/ 5 h 105"/>
                <a:gd name="T8" fmla="*/ 116 w 122"/>
                <a:gd name="T9" fmla="*/ 8 h 105"/>
                <a:gd name="T10" fmla="*/ 97 w 122"/>
                <a:gd name="T11" fmla="*/ 33 h 105"/>
                <a:gd name="T12" fmla="*/ 92 w 122"/>
                <a:gd name="T13" fmla="*/ 40 h 105"/>
                <a:gd name="T14" fmla="*/ 0 w 122"/>
                <a:gd name="T15" fmla="*/ 105 h 105"/>
                <a:gd name="T16" fmla="*/ 44 w 122"/>
                <a:gd name="T17" fmla="*/ 83 h 105"/>
                <a:gd name="T18" fmla="*/ 66 w 122"/>
                <a:gd name="T19" fmla="*/ 66 h 105"/>
                <a:gd name="T20" fmla="*/ 83 w 122"/>
                <a:gd name="T21" fmla="*/ 48 h 105"/>
                <a:gd name="T22" fmla="*/ 99 w 122"/>
                <a:gd name="T23" fmla="*/ 29 h 105"/>
                <a:gd name="T24" fmla="*/ 107 w 122"/>
                <a:gd name="T25" fmla="*/ 18 h 105"/>
                <a:gd name="T26" fmla="*/ 113 w 122"/>
                <a:gd name="T27" fmla="*/ 10 h 105"/>
                <a:gd name="T28" fmla="*/ 120 w 122"/>
                <a:gd name="T29" fmla="*/ 3 h 105"/>
                <a:gd name="T30" fmla="*/ 121 w 122"/>
                <a:gd name="T31" fmla="*/ 2 h 105"/>
                <a:gd name="T32" fmla="*/ 118 w 122"/>
                <a:gd name="T33" fmla="*/ 2 h 105"/>
                <a:gd name="T34" fmla="*/ 114 w 122"/>
                <a:gd name="T35" fmla="*/ 5 h 105"/>
                <a:gd name="T36" fmla="*/ 107 w 122"/>
                <a:gd name="T37" fmla="*/ 8 h 105"/>
                <a:gd name="T38" fmla="*/ 105 w 122"/>
                <a:gd name="T39" fmla="*/ 9 h 105"/>
                <a:gd name="T40" fmla="*/ 107 w 122"/>
                <a:gd name="T41" fmla="*/ 8 h 105"/>
                <a:gd name="T42" fmla="*/ 114 w 122"/>
                <a:gd name="T43" fmla="*/ 4 h 105"/>
                <a:gd name="T44" fmla="*/ 118 w 122"/>
                <a:gd name="T45" fmla="*/ 2 h 105"/>
                <a:gd name="T46" fmla="*/ 121 w 122"/>
                <a:gd name="T4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2" h="105">
                  <a:moveTo>
                    <a:pt x="121" y="0"/>
                  </a:moveTo>
                  <a:cubicBezTo>
                    <a:pt x="121" y="0"/>
                    <a:pt x="122" y="1"/>
                    <a:pt x="122" y="2"/>
                  </a:cubicBezTo>
                  <a:cubicBezTo>
                    <a:pt x="122" y="2"/>
                    <a:pt x="122" y="3"/>
                    <a:pt x="121" y="3"/>
                  </a:cubicBezTo>
                  <a:cubicBezTo>
                    <a:pt x="120" y="4"/>
                    <a:pt x="119" y="5"/>
                    <a:pt x="119" y="5"/>
                  </a:cubicBezTo>
                  <a:cubicBezTo>
                    <a:pt x="118" y="6"/>
                    <a:pt x="117" y="7"/>
                    <a:pt x="116" y="8"/>
                  </a:cubicBezTo>
                  <a:cubicBezTo>
                    <a:pt x="110" y="16"/>
                    <a:pt x="103" y="25"/>
                    <a:pt x="97" y="33"/>
                  </a:cubicBezTo>
                  <a:cubicBezTo>
                    <a:pt x="95" y="35"/>
                    <a:pt x="94" y="38"/>
                    <a:pt x="92" y="40"/>
                  </a:cubicBezTo>
                  <a:cubicBezTo>
                    <a:pt x="68" y="73"/>
                    <a:pt x="33" y="96"/>
                    <a:pt x="0" y="105"/>
                  </a:cubicBezTo>
                  <a:cubicBezTo>
                    <a:pt x="3" y="103"/>
                    <a:pt x="21" y="98"/>
                    <a:pt x="44" y="83"/>
                  </a:cubicBezTo>
                  <a:cubicBezTo>
                    <a:pt x="52" y="78"/>
                    <a:pt x="59" y="72"/>
                    <a:pt x="66" y="66"/>
                  </a:cubicBezTo>
                  <a:cubicBezTo>
                    <a:pt x="72" y="61"/>
                    <a:pt x="78" y="55"/>
                    <a:pt x="83" y="48"/>
                  </a:cubicBezTo>
                  <a:cubicBezTo>
                    <a:pt x="89" y="42"/>
                    <a:pt x="94" y="35"/>
                    <a:pt x="99" y="29"/>
                  </a:cubicBezTo>
                  <a:cubicBezTo>
                    <a:pt x="102" y="25"/>
                    <a:pt x="105" y="22"/>
                    <a:pt x="107" y="18"/>
                  </a:cubicBezTo>
                  <a:cubicBezTo>
                    <a:pt x="109" y="15"/>
                    <a:pt x="111" y="13"/>
                    <a:pt x="113" y="10"/>
                  </a:cubicBezTo>
                  <a:cubicBezTo>
                    <a:pt x="115" y="8"/>
                    <a:pt x="117" y="5"/>
                    <a:pt x="120" y="3"/>
                  </a:cubicBezTo>
                  <a:cubicBezTo>
                    <a:pt x="121" y="3"/>
                    <a:pt x="122" y="2"/>
                    <a:pt x="121" y="2"/>
                  </a:cubicBezTo>
                  <a:cubicBezTo>
                    <a:pt x="121" y="0"/>
                    <a:pt x="119" y="2"/>
                    <a:pt x="118" y="2"/>
                  </a:cubicBezTo>
                  <a:cubicBezTo>
                    <a:pt x="117" y="3"/>
                    <a:pt x="116" y="4"/>
                    <a:pt x="114" y="5"/>
                  </a:cubicBezTo>
                  <a:cubicBezTo>
                    <a:pt x="110" y="7"/>
                    <a:pt x="108" y="8"/>
                    <a:pt x="107" y="8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9"/>
                    <a:pt x="106" y="8"/>
                    <a:pt x="107" y="8"/>
                  </a:cubicBezTo>
                  <a:cubicBezTo>
                    <a:pt x="108" y="7"/>
                    <a:pt x="110" y="6"/>
                    <a:pt x="114" y="4"/>
                  </a:cubicBezTo>
                  <a:cubicBezTo>
                    <a:pt x="115" y="3"/>
                    <a:pt x="117" y="2"/>
                    <a:pt x="118" y="2"/>
                  </a:cubicBezTo>
                  <a:cubicBezTo>
                    <a:pt x="119" y="1"/>
                    <a:pt x="120" y="0"/>
                    <a:pt x="12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9" name="Freeform 396">
              <a:extLst>
                <a:ext uri="{FF2B5EF4-FFF2-40B4-BE49-F238E27FC236}">
                  <a16:creationId xmlns:a16="http://schemas.microsoft.com/office/drawing/2014/main" id="{FCF9687E-1EAA-4E9A-A3A7-D6873709E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0138" y="2093913"/>
              <a:ext cx="109538" cy="93663"/>
            </a:xfrm>
            <a:custGeom>
              <a:avLst/>
              <a:gdLst>
                <a:gd name="T0" fmla="*/ 42 w 42"/>
                <a:gd name="T1" fmla="*/ 0 h 35"/>
                <a:gd name="T2" fmla="*/ 38 w 42"/>
                <a:gd name="T3" fmla="*/ 3 h 35"/>
                <a:gd name="T4" fmla="*/ 21 w 42"/>
                <a:gd name="T5" fmla="*/ 19 h 35"/>
                <a:gd name="T6" fmla="*/ 4 w 42"/>
                <a:gd name="T7" fmla="*/ 32 h 35"/>
                <a:gd name="T8" fmla="*/ 0 w 42"/>
                <a:gd name="T9" fmla="*/ 35 h 35"/>
                <a:gd name="T10" fmla="*/ 5 w 42"/>
                <a:gd name="T11" fmla="*/ 31 h 35"/>
                <a:gd name="T12" fmla="*/ 20 w 42"/>
                <a:gd name="T13" fmla="*/ 18 h 35"/>
                <a:gd name="T14" fmla="*/ 37 w 42"/>
                <a:gd name="T15" fmla="*/ 3 h 35"/>
                <a:gd name="T16" fmla="*/ 42 w 42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5">
                  <a:moveTo>
                    <a:pt x="42" y="0"/>
                  </a:moveTo>
                  <a:cubicBezTo>
                    <a:pt x="42" y="0"/>
                    <a:pt x="41" y="1"/>
                    <a:pt x="38" y="3"/>
                  </a:cubicBezTo>
                  <a:cubicBezTo>
                    <a:pt x="35" y="6"/>
                    <a:pt x="29" y="11"/>
                    <a:pt x="21" y="19"/>
                  </a:cubicBezTo>
                  <a:cubicBezTo>
                    <a:pt x="12" y="26"/>
                    <a:pt x="7" y="30"/>
                    <a:pt x="4" y="32"/>
                  </a:cubicBezTo>
                  <a:cubicBezTo>
                    <a:pt x="1" y="35"/>
                    <a:pt x="0" y="35"/>
                    <a:pt x="0" y="35"/>
                  </a:cubicBezTo>
                  <a:cubicBezTo>
                    <a:pt x="0" y="35"/>
                    <a:pt x="1" y="34"/>
                    <a:pt x="5" y="31"/>
                  </a:cubicBezTo>
                  <a:cubicBezTo>
                    <a:pt x="8" y="29"/>
                    <a:pt x="13" y="24"/>
                    <a:pt x="20" y="18"/>
                  </a:cubicBezTo>
                  <a:cubicBezTo>
                    <a:pt x="29" y="10"/>
                    <a:pt x="34" y="6"/>
                    <a:pt x="37" y="3"/>
                  </a:cubicBezTo>
                  <a:cubicBezTo>
                    <a:pt x="40" y="0"/>
                    <a:pt x="42" y="0"/>
                    <a:pt x="42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0" name="Freeform 397">
              <a:extLst>
                <a:ext uri="{FF2B5EF4-FFF2-40B4-BE49-F238E27FC236}">
                  <a16:creationId xmlns:a16="http://schemas.microsoft.com/office/drawing/2014/main" id="{EF5B3C54-E82B-4B03-9059-8687F652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2025" y="2276476"/>
              <a:ext cx="20638" cy="7938"/>
            </a:xfrm>
            <a:custGeom>
              <a:avLst/>
              <a:gdLst>
                <a:gd name="T0" fmla="*/ 8 w 8"/>
                <a:gd name="T1" fmla="*/ 3 h 3"/>
                <a:gd name="T2" fmla="*/ 8 w 8"/>
                <a:gd name="T3" fmla="*/ 3 h 3"/>
                <a:gd name="T4" fmla="*/ 8 w 8"/>
                <a:gd name="T5" fmla="*/ 3 h 3"/>
                <a:gd name="T6" fmla="*/ 7 w 8"/>
                <a:gd name="T7" fmla="*/ 2 h 3"/>
                <a:gd name="T8" fmla="*/ 6 w 8"/>
                <a:gd name="T9" fmla="*/ 1 h 3"/>
                <a:gd name="T10" fmla="*/ 4 w 8"/>
                <a:gd name="T11" fmla="*/ 1 h 3"/>
                <a:gd name="T12" fmla="*/ 2 w 8"/>
                <a:gd name="T13" fmla="*/ 1 h 3"/>
                <a:gd name="T14" fmla="*/ 1 w 8"/>
                <a:gd name="T15" fmla="*/ 2 h 3"/>
                <a:gd name="T16" fmla="*/ 0 w 8"/>
                <a:gd name="T17" fmla="*/ 2 h 3"/>
                <a:gd name="T18" fmla="*/ 0 w 8"/>
                <a:gd name="T19" fmla="*/ 2 h 3"/>
                <a:gd name="T20" fmla="*/ 0 w 8"/>
                <a:gd name="T21" fmla="*/ 2 h 3"/>
                <a:gd name="T22" fmla="*/ 1 w 8"/>
                <a:gd name="T23" fmla="*/ 1 h 3"/>
                <a:gd name="T24" fmla="*/ 2 w 8"/>
                <a:gd name="T25" fmla="*/ 0 h 3"/>
                <a:gd name="T26" fmla="*/ 4 w 8"/>
                <a:gd name="T27" fmla="*/ 0 h 3"/>
                <a:gd name="T28" fmla="*/ 6 w 8"/>
                <a:gd name="T29" fmla="*/ 1 h 3"/>
                <a:gd name="T30" fmla="*/ 7 w 8"/>
                <a:gd name="T31" fmla="*/ 2 h 3"/>
                <a:gd name="T32" fmla="*/ 8 w 8"/>
                <a:gd name="T3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3">
                  <a:moveTo>
                    <a:pt x="8" y="3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7" y="2"/>
                    <a:pt x="6" y="2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1" y="1"/>
                    <a:pt x="1" y="1"/>
                    <a:pt x="2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7" y="1"/>
                    <a:pt x="7" y="2"/>
                    <a:pt x="7" y="2"/>
                  </a:cubicBezTo>
                  <a:cubicBezTo>
                    <a:pt x="8" y="2"/>
                    <a:pt x="8" y="2"/>
                    <a:pt x="8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1" name="Freeform 398">
              <a:extLst>
                <a:ext uri="{FF2B5EF4-FFF2-40B4-BE49-F238E27FC236}">
                  <a16:creationId xmlns:a16="http://schemas.microsoft.com/office/drawing/2014/main" id="{02F4316C-2DFC-4A2E-8640-5E1B1B391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075" y="2282826"/>
              <a:ext cx="31750" cy="47625"/>
            </a:xfrm>
            <a:custGeom>
              <a:avLst/>
              <a:gdLst>
                <a:gd name="T0" fmla="*/ 4 w 12"/>
                <a:gd name="T1" fmla="*/ 18 h 18"/>
                <a:gd name="T2" fmla="*/ 9 w 12"/>
                <a:gd name="T3" fmla="*/ 3 h 18"/>
                <a:gd name="T4" fmla="*/ 0 w 12"/>
                <a:gd name="T5" fmla="*/ 1 h 18"/>
                <a:gd name="T6" fmla="*/ 3 w 12"/>
                <a:gd name="T7" fmla="*/ 0 h 18"/>
                <a:gd name="T8" fmla="*/ 10 w 12"/>
                <a:gd name="T9" fmla="*/ 8 h 18"/>
                <a:gd name="T10" fmla="*/ 4 w 12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4" y="18"/>
                  </a:moveTo>
                  <a:cubicBezTo>
                    <a:pt x="5" y="17"/>
                    <a:pt x="12" y="10"/>
                    <a:pt x="9" y="3"/>
                  </a:cubicBezTo>
                  <a:cubicBezTo>
                    <a:pt x="6" y="1"/>
                    <a:pt x="3" y="1"/>
                    <a:pt x="0" y="1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" y="0"/>
                    <a:pt x="11" y="3"/>
                    <a:pt x="10" y="8"/>
                  </a:cubicBezTo>
                  <a:cubicBezTo>
                    <a:pt x="10" y="13"/>
                    <a:pt x="6" y="17"/>
                    <a:pt x="4" y="1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2" name="Freeform 399">
              <a:extLst>
                <a:ext uri="{FF2B5EF4-FFF2-40B4-BE49-F238E27FC236}">
                  <a16:creationId xmlns:a16="http://schemas.microsoft.com/office/drawing/2014/main" id="{A37B2DBB-FF96-41C7-B370-1E329A2A9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988" y="2295526"/>
              <a:ext cx="87313" cy="42863"/>
            </a:xfrm>
            <a:custGeom>
              <a:avLst/>
              <a:gdLst>
                <a:gd name="T0" fmla="*/ 2 w 33"/>
                <a:gd name="T1" fmla="*/ 4 h 16"/>
                <a:gd name="T2" fmla="*/ 9 w 33"/>
                <a:gd name="T3" fmla="*/ 10 h 16"/>
                <a:gd name="T4" fmla="*/ 29 w 33"/>
                <a:gd name="T5" fmla="*/ 13 h 16"/>
                <a:gd name="T6" fmla="*/ 12 w 33"/>
                <a:gd name="T7" fmla="*/ 3 h 16"/>
                <a:gd name="T8" fmla="*/ 8 w 33"/>
                <a:gd name="T9" fmla="*/ 0 h 16"/>
                <a:gd name="T10" fmla="*/ 9 w 33"/>
                <a:gd name="T11" fmla="*/ 0 h 16"/>
                <a:gd name="T12" fmla="*/ 13 w 33"/>
                <a:gd name="T13" fmla="*/ 3 h 16"/>
                <a:gd name="T14" fmla="*/ 21 w 33"/>
                <a:gd name="T15" fmla="*/ 8 h 16"/>
                <a:gd name="T16" fmla="*/ 28 w 33"/>
                <a:gd name="T17" fmla="*/ 14 h 16"/>
                <a:gd name="T18" fmla="*/ 19 w 33"/>
                <a:gd name="T19" fmla="*/ 15 h 16"/>
                <a:gd name="T20" fmla="*/ 6 w 33"/>
                <a:gd name="T21" fmla="*/ 10 h 16"/>
                <a:gd name="T22" fmla="*/ 2 w 33"/>
                <a:gd name="T2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16">
                  <a:moveTo>
                    <a:pt x="2" y="4"/>
                  </a:moveTo>
                  <a:cubicBezTo>
                    <a:pt x="3" y="4"/>
                    <a:pt x="1" y="6"/>
                    <a:pt x="9" y="10"/>
                  </a:cubicBezTo>
                  <a:cubicBezTo>
                    <a:pt x="16" y="14"/>
                    <a:pt x="29" y="16"/>
                    <a:pt x="29" y="13"/>
                  </a:cubicBezTo>
                  <a:cubicBezTo>
                    <a:pt x="29" y="10"/>
                    <a:pt x="14" y="8"/>
                    <a:pt x="12" y="3"/>
                  </a:cubicBezTo>
                  <a:cubicBezTo>
                    <a:pt x="10" y="1"/>
                    <a:pt x="10" y="0"/>
                    <a:pt x="8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11" y="0"/>
                    <a:pt x="12" y="2"/>
                    <a:pt x="13" y="3"/>
                  </a:cubicBezTo>
                  <a:cubicBezTo>
                    <a:pt x="16" y="5"/>
                    <a:pt x="18" y="7"/>
                    <a:pt x="21" y="8"/>
                  </a:cubicBezTo>
                  <a:cubicBezTo>
                    <a:pt x="23" y="8"/>
                    <a:pt x="33" y="12"/>
                    <a:pt x="28" y="14"/>
                  </a:cubicBezTo>
                  <a:cubicBezTo>
                    <a:pt x="26" y="15"/>
                    <a:pt x="21" y="15"/>
                    <a:pt x="19" y="15"/>
                  </a:cubicBezTo>
                  <a:cubicBezTo>
                    <a:pt x="14" y="14"/>
                    <a:pt x="10" y="12"/>
                    <a:pt x="6" y="10"/>
                  </a:cubicBezTo>
                  <a:cubicBezTo>
                    <a:pt x="0" y="7"/>
                    <a:pt x="2" y="4"/>
                    <a:pt x="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3" name="Freeform 400">
              <a:extLst>
                <a:ext uri="{FF2B5EF4-FFF2-40B4-BE49-F238E27FC236}">
                  <a16:creationId xmlns:a16="http://schemas.microsoft.com/office/drawing/2014/main" id="{3B7542CA-746C-4CCE-A298-3A1F7BD0D9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4325" y="2308226"/>
              <a:ext cx="31750" cy="23813"/>
            </a:xfrm>
            <a:custGeom>
              <a:avLst/>
              <a:gdLst>
                <a:gd name="T0" fmla="*/ 6 w 12"/>
                <a:gd name="T1" fmla="*/ 0 h 9"/>
                <a:gd name="T2" fmla="*/ 5 w 12"/>
                <a:gd name="T3" fmla="*/ 8 h 9"/>
                <a:gd name="T4" fmla="*/ 8 w 12"/>
                <a:gd name="T5" fmla="*/ 0 h 9"/>
                <a:gd name="T6" fmla="*/ 6 w 12"/>
                <a:gd name="T7" fmla="*/ 0 h 9"/>
                <a:gd name="T8" fmla="*/ 7 w 12"/>
                <a:gd name="T9" fmla="*/ 1 h 9"/>
                <a:gd name="T10" fmla="*/ 9 w 12"/>
                <a:gd name="T11" fmla="*/ 4 h 9"/>
                <a:gd name="T12" fmla="*/ 3 w 12"/>
                <a:gd name="T13" fmla="*/ 6 h 9"/>
                <a:gd name="T14" fmla="*/ 7 w 12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6" y="0"/>
                  </a:moveTo>
                  <a:cubicBezTo>
                    <a:pt x="2" y="1"/>
                    <a:pt x="0" y="7"/>
                    <a:pt x="5" y="8"/>
                  </a:cubicBezTo>
                  <a:cubicBezTo>
                    <a:pt x="10" y="9"/>
                    <a:pt x="12" y="2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lose/>
                  <a:moveTo>
                    <a:pt x="7" y="1"/>
                  </a:moveTo>
                  <a:cubicBezTo>
                    <a:pt x="8" y="1"/>
                    <a:pt x="9" y="3"/>
                    <a:pt x="9" y="4"/>
                  </a:cubicBezTo>
                  <a:cubicBezTo>
                    <a:pt x="9" y="7"/>
                    <a:pt x="5" y="8"/>
                    <a:pt x="3" y="6"/>
                  </a:cubicBezTo>
                  <a:cubicBezTo>
                    <a:pt x="1" y="3"/>
                    <a:pt x="5" y="0"/>
                    <a:pt x="7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4" name="Freeform 401">
              <a:extLst>
                <a:ext uri="{FF2B5EF4-FFF2-40B4-BE49-F238E27FC236}">
                  <a16:creationId xmlns:a16="http://schemas.microsoft.com/office/drawing/2014/main" id="{63961B8D-1039-4A6E-A2A4-637C8B17CC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2263" y="2311401"/>
              <a:ext cx="14288" cy="12700"/>
            </a:xfrm>
            <a:custGeom>
              <a:avLst/>
              <a:gdLst>
                <a:gd name="T0" fmla="*/ 1 w 5"/>
                <a:gd name="T1" fmla="*/ 2 h 5"/>
                <a:gd name="T2" fmla="*/ 4 w 5"/>
                <a:gd name="T3" fmla="*/ 4 h 5"/>
                <a:gd name="T4" fmla="*/ 5 w 5"/>
                <a:gd name="T5" fmla="*/ 2 h 5"/>
                <a:gd name="T6" fmla="*/ 1 w 5"/>
                <a:gd name="T7" fmla="*/ 2 h 5"/>
                <a:gd name="T8" fmla="*/ 2 w 5"/>
                <a:gd name="T9" fmla="*/ 4 h 5"/>
                <a:gd name="T10" fmla="*/ 2 w 5"/>
                <a:gd name="T11" fmla="*/ 3 h 5"/>
                <a:gd name="T12" fmla="*/ 2 w 5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1" y="2"/>
                  </a:moveTo>
                  <a:cubicBezTo>
                    <a:pt x="0" y="3"/>
                    <a:pt x="2" y="5"/>
                    <a:pt x="4" y="4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4" y="0"/>
                    <a:pt x="2" y="1"/>
                    <a:pt x="1" y="2"/>
                  </a:cubicBezTo>
                  <a:close/>
                  <a:moveTo>
                    <a:pt x="2" y="4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3" y="4"/>
                    <a:pt x="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5" name="Freeform 402">
              <a:extLst>
                <a:ext uri="{FF2B5EF4-FFF2-40B4-BE49-F238E27FC236}">
                  <a16:creationId xmlns:a16="http://schemas.microsoft.com/office/drawing/2014/main" id="{FCC2799B-55D5-456E-8366-BD90E3A19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888" y="2346326"/>
              <a:ext cx="336550" cy="33338"/>
            </a:xfrm>
            <a:custGeom>
              <a:avLst/>
              <a:gdLst>
                <a:gd name="T0" fmla="*/ 127 w 127"/>
                <a:gd name="T1" fmla="*/ 0 h 13"/>
                <a:gd name="T2" fmla="*/ 127 w 127"/>
                <a:gd name="T3" fmla="*/ 0 h 13"/>
                <a:gd name="T4" fmla="*/ 127 w 127"/>
                <a:gd name="T5" fmla="*/ 0 h 13"/>
                <a:gd name="T6" fmla="*/ 109 w 127"/>
                <a:gd name="T7" fmla="*/ 2 h 13"/>
                <a:gd name="T8" fmla="*/ 90 w 127"/>
                <a:gd name="T9" fmla="*/ 5 h 13"/>
                <a:gd name="T10" fmla="*/ 0 w 127"/>
                <a:gd name="T11" fmla="*/ 0 h 13"/>
                <a:gd name="T12" fmla="*/ 90 w 127"/>
                <a:gd name="T13" fmla="*/ 4 h 13"/>
                <a:gd name="T14" fmla="*/ 109 w 127"/>
                <a:gd name="T15" fmla="*/ 2 h 13"/>
                <a:gd name="T16" fmla="*/ 118 w 127"/>
                <a:gd name="T17" fmla="*/ 0 h 13"/>
                <a:gd name="T18" fmla="*/ 127 w 127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">
                  <a:moveTo>
                    <a:pt x="127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15" y="1"/>
                    <a:pt x="109" y="2"/>
                  </a:cubicBezTo>
                  <a:cubicBezTo>
                    <a:pt x="104" y="3"/>
                    <a:pt x="98" y="4"/>
                    <a:pt x="90" y="5"/>
                  </a:cubicBezTo>
                  <a:cubicBezTo>
                    <a:pt x="37" y="13"/>
                    <a:pt x="0" y="0"/>
                    <a:pt x="0" y="0"/>
                  </a:cubicBezTo>
                  <a:cubicBezTo>
                    <a:pt x="8" y="1"/>
                    <a:pt x="39" y="11"/>
                    <a:pt x="90" y="4"/>
                  </a:cubicBezTo>
                  <a:cubicBezTo>
                    <a:pt x="98" y="3"/>
                    <a:pt x="104" y="2"/>
                    <a:pt x="109" y="2"/>
                  </a:cubicBezTo>
                  <a:cubicBezTo>
                    <a:pt x="113" y="1"/>
                    <a:pt x="117" y="1"/>
                    <a:pt x="118" y="0"/>
                  </a:cubicBezTo>
                  <a:cubicBezTo>
                    <a:pt x="120" y="0"/>
                    <a:pt x="124" y="0"/>
                    <a:pt x="127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6" name="Freeform 403">
              <a:extLst>
                <a:ext uri="{FF2B5EF4-FFF2-40B4-BE49-F238E27FC236}">
                  <a16:creationId xmlns:a16="http://schemas.microsoft.com/office/drawing/2014/main" id="{031081D1-F60B-4637-9721-D63FF7B07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988" y="2271713"/>
              <a:ext cx="260350" cy="55563"/>
            </a:xfrm>
            <a:custGeom>
              <a:avLst/>
              <a:gdLst>
                <a:gd name="T0" fmla="*/ 16 w 99"/>
                <a:gd name="T1" fmla="*/ 1 h 21"/>
                <a:gd name="T2" fmla="*/ 0 w 99"/>
                <a:gd name="T3" fmla="*/ 1 h 21"/>
                <a:gd name="T4" fmla="*/ 14 w 99"/>
                <a:gd name="T5" fmla="*/ 0 h 21"/>
                <a:gd name="T6" fmla="*/ 17 w 99"/>
                <a:gd name="T7" fmla="*/ 0 h 21"/>
                <a:gd name="T8" fmla="*/ 57 w 99"/>
                <a:gd name="T9" fmla="*/ 5 h 21"/>
                <a:gd name="T10" fmla="*/ 64 w 99"/>
                <a:gd name="T11" fmla="*/ 7 h 21"/>
                <a:gd name="T12" fmla="*/ 97 w 99"/>
                <a:gd name="T13" fmla="*/ 20 h 21"/>
                <a:gd name="T14" fmla="*/ 99 w 99"/>
                <a:gd name="T15" fmla="*/ 21 h 21"/>
                <a:gd name="T16" fmla="*/ 97 w 99"/>
                <a:gd name="T17" fmla="*/ 20 h 21"/>
                <a:gd name="T18" fmla="*/ 16 w 99"/>
                <a:gd name="T19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21">
                  <a:moveTo>
                    <a:pt x="16" y="1"/>
                  </a:moveTo>
                  <a:cubicBezTo>
                    <a:pt x="12" y="1"/>
                    <a:pt x="5" y="1"/>
                    <a:pt x="0" y="1"/>
                  </a:cubicBezTo>
                  <a:cubicBezTo>
                    <a:pt x="5" y="1"/>
                    <a:pt x="9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7" y="0"/>
                    <a:pt x="41" y="1"/>
                    <a:pt x="57" y="5"/>
                  </a:cubicBezTo>
                  <a:cubicBezTo>
                    <a:pt x="60" y="6"/>
                    <a:pt x="62" y="6"/>
                    <a:pt x="64" y="7"/>
                  </a:cubicBezTo>
                  <a:cubicBezTo>
                    <a:pt x="77" y="11"/>
                    <a:pt x="86" y="14"/>
                    <a:pt x="97" y="20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99" y="21"/>
                    <a:pt x="99" y="21"/>
                    <a:pt x="97" y="20"/>
                  </a:cubicBezTo>
                  <a:cubicBezTo>
                    <a:pt x="71" y="8"/>
                    <a:pt x="46" y="2"/>
                    <a:pt x="16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7" name="Freeform 404">
              <a:extLst>
                <a:ext uri="{FF2B5EF4-FFF2-40B4-BE49-F238E27FC236}">
                  <a16:creationId xmlns:a16="http://schemas.microsoft.com/office/drawing/2014/main" id="{6250C40A-C21E-4B2B-B1AA-ADC10FCA8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513" y="2308226"/>
              <a:ext cx="53975" cy="22225"/>
            </a:xfrm>
            <a:custGeom>
              <a:avLst/>
              <a:gdLst>
                <a:gd name="T0" fmla="*/ 3 w 20"/>
                <a:gd name="T1" fmla="*/ 3 h 8"/>
                <a:gd name="T2" fmla="*/ 0 w 20"/>
                <a:gd name="T3" fmla="*/ 0 h 8"/>
                <a:gd name="T4" fmla="*/ 2 w 20"/>
                <a:gd name="T5" fmla="*/ 1 h 8"/>
                <a:gd name="T6" fmla="*/ 20 w 20"/>
                <a:gd name="T7" fmla="*/ 8 h 8"/>
                <a:gd name="T8" fmla="*/ 3 w 20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">
                  <a:moveTo>
                    <a:pt x="3" y="3"/>
                  </a:move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1" y="1"/>
                    <a:pt x="2" y="1"/>
                  </a:cubicBezTo>
                  <a:cubicBezTo>
                    <a:pt x="8" y="5"/>
                    <a:pt x="13" y="6"/>
                    <a:pt x="20" y="8"/>
                  </a:cubicBezTo>
                  <a:cubicBezTo>
                    <a:pt x="17" y="8"/>
                    <a:pt x="10" y="7"/>
                    <a:pt x="3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8" name="Freeform 405">
              <a:extLst>
                <a:ext uri="{FF2B5EF4-FFF2-40B4-BE49-F238E27FC236}">
                  <a16:creationId xmlns:a16="http://schemas.microsoft.com/office/drawing/2014/main" id="{B59F4B71-BD64-47C1-B8C0-541671344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0688" y="2306638"/>
              <a:ext cx="47625" cy="17463"/>
            </a:xfrm>
            <a:custGeom>
              <a:avLst/>
              <a:gdLst>
                <a:gd name="T0" fmla="*/ 8 w 18"/>
                <a:gd name="T1" fmla="*/ 5 h 7"/>
                <a:gd name="T2" fmla="*/ 0 w 18"/>
                <a:gd name="T3" fmla="*/ 0 h 7"/>
                <a:gd name="T4" fmla="*/ 18 w 18"/>
                <a:gd name="T5" fmla="*/ 7 h 7"/>
                <a:gd name="T6" fmla="*/ 8 w 18"/>
                <a:gd name="T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7">
                  <a:moveTo>
                    <a:pt x="8" y="5"/>
                  </a:moveTo>
                  <a:cubicBezTo>
                    <a:pt x="2" y="3"/>
                    <a:pt x="0" y="0"/>
                    <a:pt x="0" y="0"/>
                  </a:cubicBezTo>
                  <a:cubicBezTo>
                    <a:pt x="6" y="4"/>
                    <a:pt x="9" y="5"/>
                    <a:pt x="18" y="7"/>
                  </a:cubicBezTo>
                  <a:cubicBezTo>
                    <a:pt x="18" y="7"/>
                    <a:pt x="14" y="7"/>
                    <a:pt x="8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9" name="Freeform 406">
              <a:extLst>
                <a:ext uri="{FF2B5EF4-FFF2-40B4-BE49-F238E27FC236}">
                  <a16:creationId xmlns:a16="http://schemas.microsoft.com/office/drawing/2014/main" id="{3A8F8204-C30D-4F87-A9E0-B38975DD4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0688" y="2303463"/>
              <a:ext cx="26988" cy="12700"/>
            </a:xfrm>
            <a:custGeom>
              <a:avLst/>
              <a:gdLst>
                <a:gd name="T0" fmla="*/ 9 w 10"/>
                <a:gd name="T1" fmla="*/ 4 h 5"/>
                <a:gd name="T2" fmla="*/ 0 w 10"/>
                <a:gd name="T3" fmla="*/ 0 h 5"/>
                <a:gd name="T4" fmla="*/ 10 w 10"/>
                <a:gd name="T5" fmla="*/ 5 h 5"/>
                <a:gd name="T6" fmla="*/ 9 w 10"/>
                <a:gd name="T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5">
                  <a:moveTo>
                    <a:pt x="9" y="4"/>
                  </a:moveTo>
                  <a:cubicBezTo>
                    <a:pt x="3" y="3"/>
                    <a:pt x="0" y="0"/>
                    <a:pt x="0" y="0"/>
                  </a:cubicBezTo>
                  <a:cubicBezTo>
                    <a:pt x="4" y="2"/>
                    <a:pt x="6" y="3"/>
                    <a:pt x="10" y="5"/>
                  </a:cubicBezTo>
                  <a:cubicBezTo>
                    <a:pt x="10" y="5"/>
                    <a:pt x="10" y="5"/>
                    <a:pt x="9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0" name="Freeform 407">
              <a:extLst>
                <a:ext uri="{FF2B5EF4-FFF2-40B4-BE49-F238E27FC236}">
                  <a16:creationId xmlns:a16="http://schemas.microsoft.com/office/drawing/2014/main" id="{E383F6A9-E750-4372-BFD3-64D227AD6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2300288"/>
              <a:ext cx="15875" cy="7938"/>
            </a:xfrm>
            <a:custGeom>
              <a:avLst/>
              <a:gdLst>
                <a:gd name="T0" fmla="*/ 6 w 6"/>
                <a:gd name="T1" fmla="*/ 3 h 3"/>
                <a:gd name="T2" fmla="*/ 3 w 6"/>
                <a:gd name="T3" fmla="*/ 2 h 3"/>
                <a:gd name="T4" fmla="*/ 0 w 6"/>
                <a:gd name="T5" fmla="*/ 0 h 3"/>
                <a:gd name="T6" fmla="*/ 3 w 6"/>
                <a:gd name="T7" fmla="*/ 1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cubicBezTo>
                    <a:pt x="6" y="3"/>
                    <a:pt x="5" y="3"/>
                    <a:pt x="3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3" y="1"/>
                  </a:cubicBezTo>
                  <a:cubicBezTo>
                    <a:pt x="5" y="2"/>
                    <a:pt x="6" y="3"/>
                    <a:pt x="6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1" name="Freeform 408">
              <a:extLst>
                <a:ext uri="{FF2B5EF4-FFF2-40B4-BE49-F238E27FC236}">
                  <a16:creationId xmlns:a16="http://schemas.microsoft.com/office/drawing/2014/main" id="{496AEC15-7F23-4E0D-8708-A73DCA540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2113" y="2276476"/>
              <a:ext cx="23813" cy="47625"/>
            </a:xfrm>
            <a:custGeom>
              <a:avLst/>
              <a:gdLst>
                <a:gd name="T0" fmla="*/ 3 w 9"/>
                <a:gd name="T1" fmla="*/ 18 h 18"/>
                <a:gd name="T2" fmla="*/ 5 w 9"/>
                <a:gd name="T3" fmla="*/ 2 h 18"/>
                <a:gd name="T4" fmla="*/ 0 w 9"/>
                <a:gd name="T5" fmla="*/ 0 h 18"/>
                <a:gd name="T6" fmla="*/ 0 w 9"/>
                <a:gd name="T7" fmla="*/ 0 h 18"/>
                <a:gd name="T8" fmla="*/ 1 w 9"/>
                <a:gd name="T9" fmla="*/ 0 h 18"/>
                <a:gd name="T10" fmla="*/ 3 w 9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8">
                  <a:moveTo>
                    <a:pt x="3" y="18"/>
                  </a:moveTo>
                  <a:cubicBezTo>
                    <a:pt x="3" y="18"/>
                    <a:pt x="9" y="7"/>
                    <a:pt x="5" y="2"/>
                  </a:cubicBezTo>
                  <a:cubicBezTo>
                    <a:pt x="3" y="1"/>
                    <a:pt x="2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9" y="0"/>
                    <a:pt x="8" y="13"/>
                    <a:pt x="3" y="1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2" name="Freeform 409">
              <a:extLst>
                <a:ext uri="{FF2B5EF4-FFF2-40B4-BE49-F238E27FC236}">
                  <a16:creationId xmlns:a16="http://schemas.microsoft.com/office/drawing/2014/main" id="{D66FCA05-223C-4C3C-8CE4-343353898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3688" y="2316163"/>
              <a:ext cx="7938" cy="6350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3 w 3"/>
                <a:gd name="T5" fmla="*/ 0 h 2"/>
                <a:gd name="T6" fmla="*/ 1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1" y="1"/>
                    <a:pt x="1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3" name="Freeform 410">
              <a:extLst>
                <a:ext uri="{FF2B5EF4-FFF2-40B4-BE49-F238E27FC236}">
                  <a16:creationId xmlns:a16="http://schemas.microsoft.com/office/drawing/2014/main" id="{6424BEC3-4563-43F8-A0A9-714EBFEAEB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0988" y="2255838"/>
              <a:ext cx="525463" cy="150813"/>
            </a:xfrm>
            <a:custGeom>
              <a:avLst/>
              <a:gdLst>
                <a:gd name="T0" fmla="*/ 158 w 199"/>
                <a:gd name="T1" fmla="*/ 28 h 57"/>
                <a:gd name="T2" fmla="*/ 152 w 199"/>
                <a:gd name="T3" fmla="*/ 26 h 57"/>
                <a:gd name="T4" fmla="*/ 143 w 199"/>
                <a:gd name="T5" fmla="*/ 20 h 57"/>
                <a:gd name="T6" fmla="*/ 132 w 199"/>
                <a:gd name="T7" fmla="*/ 18 h 57"/>
                <a:gd name="T8" fmla="*/ 74 w 199"/>
                <a:gd name="T9" fmla="*/ 1 h 57"/>
                <a:gd name="T10" fmla="*/ 8 w 199"/>
                <a:gd name="T11" fmla="*/ 28 h 57"/>
                <a:gd name="T12" fmla="*/ 85 w 199"/>
                <a:gd name="T13" fmla="*/ 55 h 57"/>
                <a:gd name="T14" fmla="*/ 91 w 199"/>
                <a:gd name="T15" fmla="*/ 50 h 57"/>
                <a:gd name="T16" fmla="*/ 102 w 199"/>
                <a:gd name="T17" fmla="*/ 48 h 57"/>
                <a:gd name="T18" fmla="*/ 123 w 199"/>
                <a:gd name="T19" fmla="*/ 45 h 57"/>
                <a:gd name="T20" fmla="*/ 132 w 199"/>
                <a:gd name="T21" fmla="*/ 45 h 57"/>
                <a:gd name="T22" fmla="*/ 146 w 199"/>
                <a:gd name="T23" fmla="*/ 39 h 57"/>
                <a:gd name="T24" fmla="*/ 164 w 199"/>
                <a:gd name="T25" fmla="*/ 36 h 57"/>
                <a:gd name="T26" fmla="*/ 174 w 199"/>
                <a:gd name="T27" fmla="*/ 35 h 57"/>
                <a:gd name="T28" fmla="*/ 155 w 199"/>
                <a:gd name="T29" fmla="*/ 39 h 57"/>
                <a:gd name="T30" fmla="*/ 148 w 199"/>
                <a:gd name="T31" fmla="*/ 41 h 57"/>
                <a:gd name="T32" fmla="*/ 140 w 199"/>
                <a:gd name="T33" fmla="*/ 42 h 57"/>
                <a:gd name="T34" fmla="*/ 132 w 199"/>
                <a:gd name="T35" fmla="*/ 44 h 57"/>
                <a:gd name="T36" fmla="*/ 123 w 199"/>
                <a:gd name="T37" fmla="*/ 45 h 57"/>
                <a:gd name="T38" fmla="*/ 117 w 199"/>
                <a:gd name="T39" fmla="*/ 46 h 57"/>
                <a:gd name="T40" fmla="*/ 109 w 199"/>
                <a:gd name="T41" fmla="*/ 47 h 57"/>
                <a:gd name="T42" fmla="*/ 104 w 199"/>
                <a:gd name="T43" fmla="*/ 47 h 57"/>
                <a:gd name="T44" fmla="*/ 82 w 199"/>
                <a:gd name="T45" fmla="*/ 54 h 57"/>
                <a:gd name="T46" fmla="*/ 79 w 199"/>
                <a:gd name="T47" fmla="*/ 51 h 57"/>
                <a:gd name="T48" fmla="*/ 74 w 199"/>
                <a:gd name="T49" fmla="*/ 48 h 57"/>
                <a:gd name="T50" fmla="*/ 83 w 199"/>
                <a:gd name="T51" fmla="*/ 50 h 57"/>
                <a:gd name="T52" fmla="*/ 93 w 199"/>
                <a:gd name="T53" fmla="*/ 48 h 57"/>
                <a:gd name="T54" fmla="*/ 90 w 199"/>
                <a:gd name="T55" fmla="*/ 50 h 57"/>
                <a:gd name="T56" fmla="*/ 87 w 199"/>
                <a:gd name="T57" fmla="*/ 52 h 57"/>
                <a:gd name="T58" fmla="*/ 86 w 199"/>
                <a:gd name="T59" fmla="*/ 52 h 57"/>
                <a:gd name="T60" fmla="*/ 69 w 199"/>
                <a:gd name="T61" fmla="*/ 3 h 57"/>
                <a:gd name="T62" fmla="*/ 130 w 199"/>
                <a:gd name="T63" fmla="*/ 16 h 57"/>
                <a:gd name="T64" fmla="*/ 127 w 199"/>
                <a:gd name="T65" fmla="*/ 15 h 57"/>
                <a:gd name="T66" fmla="*/ 136 w 199"/>
                <a:gd name="T67" fmla="*/ 19 h 57"/>
                <a:gd name="T68" fmla="*/ 144 w 199"/>
                <a:gd name="T69" fmla="*/ 23 h 57"/>
                <a:gd name="T70" fmla="*/ 143 w 199"/>
                <a:gd name="T71" fmla="*/ 21 h 57"/>
                <a:gd name="T72" fmla="*/ 148 w 199"/>
                <a:gd name="T73" fmla="*/ 24 h 57"/>
                <a:gd name="T74" fmla="*/ 153 w 199"/>
                <a:gd name="T75" fmla="*/ 25 h 57"/>
                <a:gd name="T76" fmla="*/ 158 w 199"/>
                <a:gd name="T77" fmla="*/ 28 h 57"/>
                <a:gd name="T78" fmla="*/ 164 w 199"/>
                <a:gd name="T79" fmla="*/ 36 h 57"/>
                <a:gd name="T80" fmla="*/ 14 w 199"/>
                <a:gd name="T81" fmla="*/ 17 h 57"/>
                <a:gd name="T82" fmla="*/ 11 w 199"/>
                <a:gd name="T83" fmla="*/ 17 h 57"/>
                <a:gd name="T84" fmla="*/ 5 w 199"/>
                <a:gd name="T85" fmla="*/ 18 h 57"/>
                <a:gd name="T86" fmla="*/ 47 w 199"/>
                <a:gd name="T87" fmla="*/ 15 h 57"/>
                <a:gd name="T88" fmla="*/ 161 w 199"/>
                <a:gd name="T89" fmla="*/ 30 h 57"/>
                <a:gd name="T90" fmla="*/ 196 w 199"/>
                <a:gd name="T91" fmla="*/ 15 h 57"/>
                <a:gd name="T92" fmla="*/ 168 w 199"/>
                <a:gd name="T93" fmla="*/ 37 h 57"/>
                <a:gd name="T94" fmla="*/ 169 w 199"/>
                <a:gd name="T95" fmla="*/ 37 h 57"/>
                <a:gd name="T96" fmla="*/ 171 w 199"/>
                <a:gd name="T97" fmla="*/ 33 h 57"/>
                <a:gd name="T98" fmla="*/ 170 w 199"/>
                <a:gd name="T99" fmla="*/ 31 h 57"/>
                <a:gd name="T100" fmla="*/ 182 w 199"/>
                <a:gd name="T101" fmla="*/ 20 h 57"/>
                <a:gd name="T102" fmla="*/ 167 w 199"/>
                <a:gd name="T10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9" h="57">
                  <a:moveTo>
                    <a:pt x="199" y="14"/>
                  </a:moveTo>
                  <a:cubicBezTo>
                    <a:pt x="187" y="14"/>
                    <a:pt x="174" y="19"/>
                    <a:pt x="166" y="31"/>
                  </a:cubicBezTo>
                  <a:cubicBezTo>
                    <a:pt x="165" y="30"/>
                    <a:pt x="163" y="30"/>
                    <a:pt x="162" y="30"/>
                  </a:cubicBezTo>
                  <a:cubicBezTo>
                    <a:pt x="162" y="29"/>
                    <a:pt x="160" y="28"/>
                    <a:pt x="160" y="27"/>
                  </a:cubicBezTo>
                  <a:cubicBezTo>
                    <a:pt x="159" y="26"/>
                    <a:pt x="158" y="27"/>
                    <a:pt x="158" y="28"/>
                  </a:cubicBezTo>
                  <a:cubicBezTo>
                    <a:pt x="158" y="28"/>
                    <a:pt x="158" y="28"/>
                    <a:pt x="157" y="28"/>
                  </a:cubicBezTo>
                  <a:cubicBezTo>
                    <a:pt x="157" y="27"/>
                    <a:pt x="156" y="27"/>
                    <a:pt x="155" y="26"/>
                  </a:cubicBezTo>
                  <a:cubicBezTo>
                    <a:pt x="154" y="25"/>
                    <a:pt x="154" y="24"/>
                    <a:pt x="153" y="24"/>
                  </a:cubicBezTo>
                  <a:cubicBezTo>
                    <a:pt x="153" y="24"/>
                    <a:pt x="152" y="25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5"/>
                    <a:pt x="149" y="23"/>
                    <a:pt x="148" y="22"/>
                  </a:cubicBezTo>
                  <a:cubicBezTo>
                    <a:pt x="148" y="22"/>
                    <a:pt x="147" y="24"/>
                    <a:pt x="147" y="24"/>
                  </a:cubicBezTo>
                  <a:cubicBezTo>
                    <a:pt x="146" y="24"/>
                    <a:pt x="146" y="24"/>
                    <a:pt x="146" y="24"/>
                  </a:cubicBezTo>
                  <a:cubicBezTo>
                    <a:pt x="144" y="21"/>
                    <a:pt x="144" y="21"/>
                    <a:pt x="143" y="20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2" y="21"/>
                    <a:pt x="141" y="22"/>
                  </a:cubicBezTo>
                  <a:cubicBezTo>
                    <a:pt x="141" y="21"/>
                    <a:pt x="140" y="21"/>
                    <a:pt x="139" y="21"/>
                  </a:cubicBezTo>
                  <a:cubicBezTo>
                    <a:pt x="139" y="20"/>
                    <a:pt x="138" y="18"/>
                    <a:pt x="137" y="16"/>
                  </a:cubicBezTo>
                  <a:cubicBezTo>
                    <a:pt x="137" y="16"/>
                    <a:pt x="137" y="17"/>
                    <a:pt x="135" y="19"/>
                  </a:cubicBezTo>
                  <a:cubicBezTo>
                    <a:pt x="135" y="19"/>
                    <a:pt x="133" y="18"/>
                    <a:pt x="132" y="18"/>
                  </a:cubicBezTo>
                  <a:cubicBezTo>
                    <a:pt x="136" y="15"/>
                    <a:pt x="135" y="13"/>
                    <a:pt x="135" y="13"/>
                  </a:cubicBezTo>
                  <a:cubicBezTo>
                    <a:pt x="133" y="11"/>
                    <a:pt x="127" y="13"/>
                    <a:pt x="123" y="14"/>
                  </a:cubicBezTo>
                  <a:cubicBezTo>
                    <a:pt x="107" y="8"/>
                    <a:pt x="89" y="4"/>
                    <a:pt x="71" y="3"/>
                  </a:cubicBezTo>
                  <a:cubicBezTo>
                    <a:pt x="72" y="3"/>
                    <a:pt x="73" y="2"/>
                    <a:pt x="74" y="2"/>
                  </a:cubicBezTo>
                  <a:cubicBezTo>
                    <a:pt x="74" y="2"/>
                    <a:pt x="74" y="1"/>
                    <a:pt x="74" y="1"/>
                  </a:cubicBezTo>
                  <a:cubicBezTo>
                    <a:pt x="66" y="0"/>
                    <a:pt x="60" y="1"/>
                    <a:pt x="52" y="4"/>
                  </a:cubicBezTo>
                  <a:cubicBezTo>
                    <a:pt x="39" y="5"/>
                    <a:pt x="14" y="10"/>
                    <a:pt x="4" y="17"/>
                  </a:cubicBezTo>
                  <a:cubicBezTo>
                    <a:pt x="4" y="18"/>
                    <a:pt x="2" y="19"/>
                    <a:pt x="3" y="19"/>
                  </a:cubicBezTo>
                  <a:cubicBezTo>
                    <a:pt x="4" y="20"/>
                    <a:pt x="6" y="20"/>
                    <a:pt x="9" y="19"/>
                  </a:cubicBezTo>
                  <a:cubicBezTo>
                    <a:pt x="1" y="24"/>
                    <a:pt x="0" y="24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23" y="37"/>
                    <a:pt x="46" y="44"/>
                    <a:pt x="59" y="46"/>
                  </a:cubicBezTo>
                  <a:cubicBezTo>
                    <a:pt x="61" y="47"/>
                    <a:pt x="64" y="48"/>
                    <a:pt x="66" y="50"/>
                  </a:cubicBezTo>
                  <a:cubicBezTo>
                    <a:pt x="76" y="54"/>
                    <a:pt x="81" y="55"/>
                    <a:pt x="85" y="56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3"/>
                    <a:pt x="87" y="54"/>
                    <a:pt x="88" y="53"/>
                  </a:cubicBezTo>
                  <a:cubicBezTo>
                    <a:pt x="88" y="53"/>
                    <a:pt x="88" y="53"/>
                    <a:pt x="88" y="52"/>
                  </a:cubicBezTo>
                  <a:cubicBezTo>
                    <a:pt x="88" y="50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2" y="49"/>
                    <a:pt x="95" y="49"/>
                    <a:pt x="96" y="48"/>
                  </a:cubicBezTo>
                  <a:cubicBezTo>
                    <a:pt x="98" y="48"/>
                    <a:pt x="101" y="48"/>
                    <a:pt x="102" y="48"/>
                  </a:cubicBezTo>
                  <a:cubicBezTo>
                    <a:pt x="112" y="53"/>
                    <a:pt x="124" y="54"/>
                    <a:pt x="114" y="46"/>
                  </a:cubicBezTo>
                  <a:cubicBezTo>
                    <a:pt x="114" y="46"/>
                    <a:pt x="115" y="46"/>
                    <a:pt x="116" y="46"/>
                  </a:cubicBezTo>
                  <a:cubicBezTo>
                    <a:pt x="116" y="47"/>
                    <a:pt x="117" y="47"/>
                    <a:pt x="117" y="48"/>
                  </a:cubicBezTo>
                  <a:cubicBezTo>
                    <a:pt x="118" y="47"/>
                    <a:pt x="119" y="46"/>
                    <a:pt x="121" y="45"/>
                  </a:cubicBezTo>
                  <a:cubicBezTo>
                    <a:pt x="122" y="45"/>
                    <a:pt x="122" y="45"/>
                    <a:pt x="123" y="45"/>
                  </a:cubicBezTo>
                  <a:cubicBezTo>
                    <a:pt x="123" y="45"/>
                    <a:pt x="123" y="45"/>
                    <a:pt x="124" y="47"/>
                  </a:cubicBezTo>
                  <a:cubicBezTo>
                    <a:pt x="124" y="47"/>
                    <a:pt x="129" y="44"/>
                    <a:pt x="130" y="43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31" y="44"/>
                    <a:pt x="132" y="45"/>
                    <a:pt x="132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4" y="44"/>
                    <a:pt x="135" y="43"/>
                    <a:pt x="137" y="42"/>
                  </a:cubicBezTo>
                  <a:cubicBezTo>
                    <a:pt x="137" y="41"/>
                    <a:pt x="138" y="41"/>
                    <a:pt x="138" y="41"/>
                  </a:cubicBezTo>
                  <a:cubicBezTo>
                    <a:pt x="139" y="43"/>
                    <a:pt x="139" y="43"/>
                    <a:pt x="140" y="44"/>
                  </a:cubicBezTo>
                  <a:cubicBezTo>
                    <a:pt x="144" y="40"/>
                    <a:pt x="143" y="41"/>
                    <a:pt x="144" y="40"/>
                  </a:cubicBezTo>
                  <a:cubicBezTo>
                    <a:pt x="145" y="40"/>
                    <a:pt x="145" y="40"/>
                    <a:pt x="146" y="39"/>
                  </a:cubicBezTo>
                  <a:cubicBezTo>
                    <a:pt x="148" y="42"/>
                    <a:pt x="147" y="42"/>
                    <a:pt x="148" y="42"/>
                  </a:cubicBezTo>
                  <a:cubicBezTo>
                    <a:pt x="148" y="41"/>
                    <a:pt x="150" y="40"/>
                    <a:pt x="154" y="38"/>
                  </a:cubicBezTo>
                  <a:cubicBezTo>
                    <a:pt x="154" y="39"/>
                    <a:pt x="154" y="39"/>
                    <a:pt x="155" y="40"/>
                  </a:cubicBezTo>
                  <a:cubicBezTo>
                    <a:pt x="156" y="39"/>
                    <a:pt x="157" y="39"/>
                    <a:pt x="159" y="37"/>
                  </a:cubicBezTo>
                  <a:cubicBezTo>
                    <a:pt x="165" y="36"/>
                    <a:pt x="164" y="36"/>
                    <a:pt x="164" y="36"/>
                  </a:cubicBezTo>
                  <a:cubicBezTo>
                    <a:pt x="164" y="36"/>
                    <a:pt x="164" y="36"/>
                    <a:pt x="165" y="36"/>
                  </a:cubicBezTo>
                  <a:cubicBezTo>
                    <a:pt x="168" y="46"/>
                    <a:pt x="177" y="54"/>
                    <a:pt x="189" y="57"/>
                  </a:cubicBezTo>
                  <a:cubicBezTo>
                    <a:pt x="189" y="56"/>
                    <a:pt x="189" y="56"/>
                    <a:pt x="189" y="56"/>
                  </a:cubicBezTo>
                  <a:cubicBezTo>
                    <a:pt x="189" y="56"/>
                    <a:pt x="189" y="56"/>
                    <a:pt x="189" y="56"/>
                  </a:cubicBezTo>
                  <a:cubicBezTo>
                    <a:pt x="182" y="50"/>
                    <a:pt x="177" y="42"/>
                    <a:pt x="174" y="35"/>
                  </a:cubicBezTo>
                  <a:cubicBezTo>
                    <a:pt x="180" y="25"/>
                    <a:pt x="190" y="19"/>
                    <a:pt x="199" y="14"/>
                  </a:cubicBezTo>
                  <a:close/>
                  <a:moveTo>
                    <a:pt x="154" y="38"/>
                  </a:moveTo>
                  <a:cubicBezTo>
                    <a:pt x="155" y="38"/>
                    <a:pt x="157" y="37"/>
                    <a:pt x="158" y="37"/>
                  </a:cubicBezTo>
                  <a:cubicBezTo>
                    <a:pt x="157" y="38"/>
                    <a:pt x="155" y="39"/>
                    <a:pt x="155" y="39"/>
                  </a:cubicBezTo>
                  <a:cubicBezTo>
                    <a:pt x="155" y="39"/>
                    <a:pt x="155" y="39"/>
                    <a:pt x="155" y="39"/>
                  </a:cubicBezTo>
                  <a:cubicBezTo>
                    <a:pt x="154" y="38"/>
                    <a:pt x="154" y="38"/>
                    <a:pt x="154" y="38"/>
                  </a:cubicBezTo>
                  <a:close/>
                  <a:moveTo>
                    <a:pt x="146" y="39"/>
                  </a:moveTo>
                  <a:cubicBezTo>
                    <a:pt x="149" y="39"/>
                    <a:pt x="150" y="39"/>
                    <a:pt x="151" y="38"/>
                  </a:cubicBezTo>
                  <a:cubicBezTo>
                    <a:pt x="150" y="39"/>
                    <a:pt x="148" y="41"/>
                    <a:pt x="148" y="41"/>
                  </a:cubicBezTo>
                  <a:cubicBezTo>
                    <a:pt x="148" y="41"/>
                    <a:pt x="148" y="41"/>
                    <a:pt x="148" y="41"/>
                  </a:cubicBezTo>
                  <a:cubicBezTo>
                    <a:pt x="148" y="41"/>
                    <a:pt x="148" y="41"/>
                    <a:pt x="148" y="41"/>
                  </a:cubicBezTo>
                  <a:cubicBezTo>
                    <a:pt x="148" y="41"/>
                    <a:pt x="147" y="40"/>
                    <a:pt x="146" y="39"/>
                  </a:cubicBezTo>
                  <a:close/>
                  <a:moveTo>
                    <a:pt x="139" y="41"/>
                  </a:moveTo>
                  <a:cubicBezTo>
                    <a:pt x="140" y="41"/>
                    <a:pt x="141" y="41"/>
                    <a:pt x="142" y="40"/>
                  </a:cubicBezTo>
                  <a:cubicBezTo>
                    <a:pt x="141" y="42"/>
                    <a:pt x="140" y="42"/>
                    <a:pt x="140" y="42"/>
                  </a:cubicBezTo>
                  <a:cubicBezTo>
                    <a:pt x="139" y="41"/>
                    <a:pt x="139" y="41"/>
                    <a:pt x="139" y="41"/>
                  </a:cubicBezTo>
                  <a:close/>
                  <a:moveTo>
                    <a:pt x="131" y="43"/>
                  </a:moveTo>
                  <a:cubicBezTo>
                    <a:pt x="132" y="43"/>
                    <a:pt x="134" y="42"/>
                    <a:pt x="135" y="42"/>
                  </a:cubicBezTo>
                  <a:cubicBezTo>
                    <a:pt x="133" y="44"/>
                    <a:pt x="133" y="44"/>
                    <a:pt x="132" y="44"/>
                  </a:cubicBezTo>
                  <a:cubicBezTo>
                    <a:pt x="132" y="44"/>
                    <a:pt x="132" y="44"/>
                    <a:pt x="132" y="44"/>
                  </a:cubicBezTo>
                  <a:cubicBezTo>
                    <a:pt x="132" y="44"/>
                    <a:pt x="132" y="44"/>
                    <a:pt x="131" y="43"/>
                  </a:cubicBezTo>
                  <a:close/>
                  <a:moveTo>
                    <a:pt x="123" y="45"/>
                  </a:moveTo>
                  <a:cubicBezTo>
                    <a:pt x="124" y="45"/>
                    <a:pt x="126" y="44"/>
                    <a:pt x="127" y="44"/>
                  </a:cubicBezTo>
                  <a:cubicBezTo>
                    <a:pt x="126" y="45"/>
                    <a:pt x="124" y="46"/>
                    <a:pt x="124" y="46"/>
                  </a:cubicBezTo>
                  <a:cubicBezTo>
                    <a:pt x="124" y="46"/>
                    <a:pt x="123" y="45"/>
                    <a:pt x="123" y="45"/>
                  </a:cubicBezTo>
                  <a:close/>
                  <a:moveTo>
                    <a:pt x="117" y="46"/>
                  </a:moveTo>
                  <a:cubicBezTo>
                    <a:pt x="118" y="46"/>
                    <a:pt x="118" y="46"/>
                    <a:pt x="119" y="45"/>
                  </a:cubicBezTo>
                  <a:cubicBezTo>
                    <a:pt x="119" y="46"/>
                    <a:pt x="119" y="45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lose/>
                  <a:moveTo>
                    <a:pt x="104" y="47"/>
                  </a:moveTo>
                  <a:cubicBezTo>
                    <a:pt x="105" y="47"/>
                    <a:pt x="105" y="47"/>
                    <a:pt x="105" y="47"/>
                  </a:cubicBezTo>
                  <a:cubicBezTo>
                    <a:pt x="110" y="49"/>
                    <a:pt x="114" y="50"/>
                    <a:pt x="114" y="50"/>
                  </a:cubicBezTo>
                  <a:cubicBezTo>
                    <a:pt x="109" y="48"/>
                    <a:pt x="107" y="47"/>
                    <a:pt x="107" y="47"/>
                  </a:cubicBezTo>
                  <a:cubicBezTo>
                    <a:pt x="108" y="47"/>
                    <a:pt x="108" y="47"/>
                    <a:pt x="109" y="47"/>
                  </a:cubicBezTo>
                  <a:cubicBezTo>
                    <a:pt x="113" y="49"/>
                    <a:pt x="114" y="49"/>
                    <a:pt x="114" y="49"/>
                  </a:cubicBezTo>
                  <a:cubicBezTo>
                    <a:pt x="114" y="49"/>
                    <a:pt x="113" y="48"/>
                    <a:pt x="110" y="47"/>
                  </a:cubicBezTo>
                  <a:cubicBezTo>
                    <a:pt x="111" y="47"/>
                    <a:pt x="111" y="47"/>
                    <a:pt x="112" y="47"/>
                  </a:cubicBezTo>
                  <a:cubicBezTo>
                    <a:pt x="113" y="47"/>
                    <a:pt x="114" y="48"/>
                    <a:pt x="114" y="48"/>
                  </a:cubicBezTo>
                  <a:cubicBezTo>
                    <a:pt x="122" y="53"/>
                    <a:pt x="106" y="49"/>
                    <a:pt x="104" y="47"/>
                  </a:cubicBezTo>
                  <a:close/>
                  <a:moveTo>
                    <a:pt x="62" y="46"/>
                  </a:moveTo>
                  <a:cubicBezTo>
                    <a:pt x="63" y="46"/>
                    <a:pt x="64" y="46"/>
                    <a:pt x="66" y="47"/>
                  </a:cubicBezTo>
                  <a:cubicBezTo>
                    <a:pt x="70" y="49"/>
                    <a:pt x="74" y="51"/>
                    <a:pt x="77" y="52"/>
                  </a:cubicBezTo>
                  <a:cubicBezTo>
                    <a:pt x="79" y="53"/>
                    <a:pt x="80" y="53"/>
                    <a:pt x="81" y="53"/>
                  </a:cubicBezTo>
                  <a:cubicBezTo>
                    <a:pt x="82" y="53"/>
                    <a:pt x="82" y="54"/>
                    <a:pt x="82" y="54"/>
                  </a:cubicBezTo>
                  <a:cubicBezTo>
                    <a:pt x="82" y="54"/>
                    <a:pt x="82" y="53"/>
                    <a:pt x="81" y="53"/>
                  </a:cubicBezTo>
                  <a:cubicBezTo>
                    <a:pt x="80" y="53"/>
                    <a:pt x="79" y="52"/>
                    <a:pt x="77" y="51"/>
                  </a:cubicBezTo>
                  <a:cubicBezTo>
                    <a:pt x="75" y="50"/>
                    <a:pt x="72" y="49"/>
                    <a:pt x="68" y="47"/>
                  </a:cubicBezTo>
                  <a:cubicBezTo>
                    <a:pt x="70" y="47"/>
                    <a:pt x="71" y="47"/>
                    <a:pt x="72" y="47"/>
                  </a:cubicBezTo>
                  <a:cubicBezTo>
                    <a:pt x="75" y="49"/>
                    <a:pt x="77" y="50"/>
                    <a:pt x="79" y="51"/>
                  </a:cubicBezTo>
                  <a:cubicBezTo>
                    <a:pt x="81" y="52"/>
                    <a:pt x="82" y="52"/>
                    <a:pt x="83" y="52"/>
                  </a:cubicBezTo>
                  <a:cubicBezTo>
                    <a:pt x="83" y="52"/>
                    <a:pt x="84" y="53"/>
                    <a:pt x="84" y="53"/>
                  </a:cubicBezTo>
                  <a:cubicBezTo>
                    <a:pt x="84" y="53"/>
                    <a:pt x="84" y="52"/>
                    <a:pt x="83" y="52"/>
                  </a:cubicBezTo>
                  <a:cubicBezTo>
                    <a:pt x="82" y="52"/>
                    <a:pt x="81" y="51"/>
                    <a:pt x="80" y="50"/>
                  </a:cubicBezTo>
                  <a:cubicBezTo>
                    <a:pt x="78" y="50"/>
                    <a:pt x="76" y="49"/>
                    <a:pt x="74" y="48"/>
                  </a:cubicBezTo>
                  <a:cubicBezTo>
                    <a:pt x="75" y="48"/>
                    <a:pt x="76" y="48"/>
                    <a:pt x="77" y="48"/>
                  </a:cubicBezTo>
                  <a:cubicBezTo>
                    <a:pt x="79" y="49"/>
                    <a:pt x="81" y="50"/>
                    <a:pt x="82" y="50"/>
                  </a:cubicBezTo>
                  <a:cubicBezTo>
                    <a:pt x="83" y="51"/>
                    <a:pt x="84" y="51"/>
                    <a:pt x="85" y="51"/>
                  </a:cubicBezTo>
                  <a:cubicBezTo>
                    <a:pt x="85" y="51"/>
                    <a:pt x="86" y="51"/>
                    <a:pt x="86" y="51"/>
                  </a:cubicBezTo>
                  <a:cubicBezTo>
                    <a:pt x="86" y="51"/>
                    <a:pt x="85" y="51"/>
                    <a:pt x="83" y="50"/>
                  </a:cubicBezTo>
                  <a:cubicBezTo>
                    <a:pt x="82" y="49"/>
                    <a:pt x="81" y="49"/>
                    <a:pt x="80" y="48"/>
                  </a:cubicBezTo>
                  <a:cubicBezTo>
                    <a:pt x="81" y="48"/>
                    <a:pt x="82" y="48"/>
                    <a:pt x="84" y="48"/>
                  </a:cubicBezTo>
                  <a:cubicBezTo>
                    <a:pt x="86" y="49"/>
                    <a:pt x="87" y="50"/>
                    <a:pt x="87" y="50"/>
                  </a:cubicBezTo>
                  <a:cubicBezTo>
                    <a:pt x="87" y="50"/>
                    <a:pt x="86" y="49"/>
                    <a:pt x="85" y="48"/>
                  </a:cubicBezTo>
                  <a:cubicBezTo>
                    <a:pt x="88" y="48"/>
                    <a:pt x="91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4" y="48"/>
                    <a:pt x="94" y="48"/>
                  </a:cubicBezTo>
                  <a:cubicBezTo>
                    <a:pt x="92" y="49"/>
                    <a:pt x="91" y="49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8" y="50"/>
                    <a:pt x="87" y="51"/>
                  </a:cubicBezTo>
                  <a:cubicBezTo>
                    <a:pt x="87" y="51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6" y="52"/>
                    <a:pt x="86" y="52"/>
                  </a:cubicBezTo>
                  <a:cubicBezTo>
                    <a:pt x="85" y="52"/>
                    <a:pt x="84" y="54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0" y="54"/>
                    <a:pt x="75" y="52"/>
                    <a:pt x="62" y="46"/>
                  </a:cubicBezTo>
                  <a:close/>
                  <a:moveTo>
                    <a:pt x="73" y="2"/>
                  </a:moveTo>
                  <a:cubicBezTo>
                    <a:pt x="72" y="2"/>
                    <a:pt x="69" y="3"/>
                    <a:pt x="69" y="3"/>
                  </a:cubicBezTo>
                  <a:cubicBezTo>
                    <a:pt x="64" y="3"/>
                    <a:pt x="56" y="3"/>
                    <a:pt x="56" y="3"/>
                  </a:cubicBezTo>
                  <a:cubicBezTo>
                    <a:pt x="58" y="3"/>
                    <a:pt x="65" y="1"/>
                    <a:pt x="72" y="1"/>
                  </a:cubicBezTo>
                  <a:cubicBezTo>
                    <a:pt x="72" y="1"/>
                    <a:pt x="73" y="1"/>
                    <a:pt x="73" y="2"/>
                  </a:cubicBezTo>
                  <a:close/>
                  <a:moveTo>
                    <a:pt x="131" y="17"/>
                  </a:moveTo>
                  <a:cubicBezTo>
                    <a:pt x="131" y="17"/>
                    <a:pt x="130" y="17"/>
                    <a:pt x="130" y="16"/>
                  </a:cubicBezTo>
                  <a:cubicBezTo>
                    <a:pt x="132" y="15"/>
                    <a:pt x="133" y="14"/>
                    <a:pt x="133" y="14"/>
                  </a:cubicBezTo>
                  <a:cubicBezTo>
                    <a:pt x="132" y="15"/>
                    <a:pt x="135" y="13"/>
                    <a:pt x="129" y="16"/>
                  </a:cubicBezTo>
                  <a:cubicBezTo>
                    <a:pt x="129" y="16"/>
                    <a:pt x="128" y="16"/>
                    <a:pt x="128" y="16"/>
                  </a:cubicBezTo>
                  <a:cubicBezTo>
                    <a:pt x="131" y="14"/>
                    <a:pt x="132" y="13"/>
                    <a:pt x="132" y="13"/>
                  </a:cubicBezTo>
                  <a:cubicBezTo>
                    <a:pt x="124" y="16"/>
                    <a:pt x="128" y="15"/>
                    <a:pt x="127" y="15"/>
                  </a:cubicBezTo>
                  <a:cubicBezTo>
                    <a:pt x="126" y="15"/>
                    <a:pt x="126" y="15"/>
                    <a:pt x="125" y="15"/>
                  </a:cubicBezTo>
                  <a:cubicBezTo>
                    <a:pt x="127" y="14"/>
                    <a:pt x="131" y="13"/>
                    <a:pt x="133" y="13"/>
                  </a:cubicBezTo>
                  <a:cubicBezTo>
                    <a:pt x="135" y="13"/>
                    <a:pt x="133" y="16"/>
                    <a:pt x="131" y="17"/>
                  </a:cubicBezTo>
                  <a:close/>
                  <a:moveTo>
                    <a:pt x="138" y="20"/>
                  </a:moveTo>
                  <a:cubicBezTo>
                    <a:pt x="137" y="20"/>
                    <a:pt x="137" y="20"/>
                    <a:pt x="136" y="19"/>
                  </a:cubicBezTo>
                  <a:cubicBezTo>
                    <a:pt x="137" y="19"/>
                    <a:pt x="137" y="18"/>
                    <a:pt x="137" y="18"/>
                  </a:cubicBezTo>
                  <a:cubicBezTo>
                    <a:pt x="137" y="18"/>
                    <a:pt x="137" y="18"/>
                    <a:pt x="137" y="18"/>
                  </a:cubicBezTo>
                  <a:cubicBezTo>
                    <a:pt x="137" y="18"/>
                    <a:pt x="137" y="18"/>
                    <a:pt x="137" y="18"/>
                  </a:cubicBezTo>
                  <a:cubicBezTo>
                    <a:pt x="137" y="18"/>
                    <a:pt x="138" y="20"/>
                    <a:pt x="138" y="20"/>
                  </a:cubicBezTo>
                  <a:close/>
                  <a:moveTo>
                    <a:pt x="144" y="23"/>
                  </a:moveTo>
                  <a:cubicBezTo>
                    <a:pt x="143" y="23"/>
                    <a:pt x="143" y="22"/>
                    <a:pt x="142" y="22"/>
                  </a:cubicBezTo>
                  <a:cubicBezTo>
                    <a:pt x="142" y="21"/>
                    <a:pt x="143" y="21"/>
                    <a:pt x="143" y="21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2"/>
                    <a:pt x="144" y="22"/>
                    <a:pt x="144" y="23"/>
                  </a:cubicBezTo>
                  <a:close/>
                  <a:moveTo>
                    <a:pt x="150" y="25"/>
                  </a:moveTo>
                  <a:cubicBezTo>
                    <a:pt x="149" y="25"/>
                    <a:pt x="148" y="25"/>
                    <a:pt x="147" y="24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8" y="24"/>
                    <a:pt x="150" y="25"/>
                    <a:pt x="150" y="25"/>
                  </a:cubicBezTo>
                  <a:close/>
                  <a:moveTo>
                    <a:pt x="156" y="28"/>
                  </a:moveTo>
                  <a:cubicBezTo>
                    <a:pt x="155" y="27"/>
                    <a:pt x="154" y="27"/>
                    <a:pt x="152" y="26"/>
                  </a:cubicBezTo>
                  <a:cubicBezTo>
                    <a:pt x="153" y="26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4" y="26"/>
                    <a:pt x="155" y="27"/>
                    <a:pt x="156" y="28"/>
                  </a:cubicBezTo>
                  <a:close/>
                  <a:moveTo>
                    <a:pt x="161" y="29"/>
                  </a:moveTo>
                  <a:cubicBezTo>
                    <a:pt x="160" y="29"/>
                    <a:pt x="159" y="29"/>
                    <a:pt x="158" y="28"/>
                  </a:cubicBezTo>
                  <a:cubicBezTo>
                    <a:pt x="159" y="27"/>
                    <a:pt x="159" y="28"/>
                    <a:pt x="161" y="29"/>
                  </a:cubicBezTo>
                  <a:close/>
                  <a:moveTo>
                    <a:pt x="167" y="32"/>
                  </a:moveTo>
                  <a:cubicBezTo>
                    <a:pt x="168" y="32"/>
                    <a:pt x="170" y="32"/>
                    <a:pt x="170" y="33"/>
                  </a:cubicBezTo>
                  <a:cubicBezTo>
                    <a:pt x="171" y="35"/>
                    <a:pt x="170" y="36"/>
                    <a:pt x="168" y="36"/>
                  </a:cubicBezTo>
                  <a:cubicBezTo>
                    <a:pt x="167" y="36"/>
                    <a:pt x="165" y="36"/>
                    <a:pt x="164" y="36"/>
                  </a:cubicBezTo>
                  <a:cubicBezTo>
                    <a:pt x="161" y="36"/>
                    <a:pt x="159" y="36"/>
                    <a:pt x="157" y="37"/>
                  </a:cubicBezTo>
                  <a:cubicBezTo>
                    <a:pt x="136" y="39"/>
                    <a:pt x="110" y="50"/>
                    <a:pt x="70" y="46"/>
                  </a:cubicBezTo>
                  <a:cubicBezTo>
                    <a:pt x="43" y="43"/>
                    <a:pt x="17" y="33"/>
                    <a:pt x="5" y="26"/>
                  </a:cubicBezTo>
                  <a:cubicBezTo>
                    <a:pt x="4" y="25"/>
                    <a:pt x="3" y="25"/>
                    <a:pt x="5" y="23"/>
                  </a:cubicBezTo>
                  <a:cubicBezTo>
                    <a:pt x="5" y="23"/>
                    <a:pt x="12" y="18"/>
                    <a:pt x="14" y="17"/>
                  </a:cubicBezTo>
                  <a:cubicBezTo>
                    <a:pt x="14" y="17"/>
                    <a:pt x="15" y="17"/>
                    <a:pt x="16" y="18"/>
                  </a:cubicBezTo>
                  <a:cubicBezTo>
                    <a:pt x="18" y="20"/>
                    <a:pt x="12" y="21"/>
                    <a:pt x="10" y="22"/>
                  </a:cubicBezTo>
                  <a:cubicBezTo>
                    <a:pt x="12" y="22"/>
                    <a:pt x="16" y="22"/>
                    <a:pt x="17" y="19"/>
                  </a:cubicBezTo>
                  <a:cubicBezTo>
                    <a:pt x="18" y="17"/>
                    <a:pt x="16" y="16"/>
                    <a:pt x="15" y="16"/>
                  </a:cubicBezTo>
                  <a:cubicBezTo>
                    <a:pt x="13" y="16"/>
                    <a:pt x="12" y="16"/>
                    <a:pt x="11" y="17"/>
                  </a:cubicBezTo>
                  <a:cubicBezTo>
                    <a:pt x="9" y="17"/>
                    <a:pt x="8" y="18"/>
                    <a:pt x="7" y="18"/>
                  </a:cubicBezTo>
                  <a:cubicBezTo>
                    <a:pt x="7" y="18"/>
                    <a:pt x="8" y="18"/>
                    <a:pt x="11" y="18"/>
                  </a:cubicBezTo>
                  <a:cubicBezTo>
                    <a:pt x="9" y="19"/>
                    <a:pt x="7" y="19"/>
                    <a:pt x="4" y="19"/>
                  </a:cubicBezTo>
                  <a:cubicBezTo>
                    <a:pt x="4" y="19"/>
                    <a:pt x="3" y="19"/>
                    <a:pt x="4" y="19"/>
                  </a:cubicBezTo>
                  <a:cubicBezTo>
                    <a:pt x="4" y="18"/>
                    <a:pt x="5" y="18"/>
                    <a:pt x="5" y="18"/>
                  </a:cubicBezTo>
                  <a:cubicBezTo>
                    <a:pt x="7" y="16"/>
                    <a:pt x="10" y="15"/>
                    <a:pt x="12" y="14"/>
                  </a:cubicBezTo>
                  <a:cubicBezTo>
                    <a:pt x="18" y="12"/>
                    <a:pt x="25" y="9"/>
                    <a:pt x="31" y="9"/>
                  </a:cubicBezTo>
                  <a:cubicBezTo>
                    <a:pt x="35" y="8"/>
                    <a:pt x="42" y="9"/>
                    <a:pt x="44" y="11"/>
                  </a:cubicBezTo>
                  <a:cubicBezTo>
                    <a:pt x="48" y="15"/>
                    <a:pt x="44" y="25"/>
                    <a:pt x="39" y="31"/>
                  </a:cubicBezTo>
                  <a:cubicBezTo>
                    <a:pt x="43" y="28"/>
                    <a:pt x="47" y="22"/>
                    <a:pt x="47" y="15"/>
                  </a:cubicBezTo>
                  <a:cubicBezTo>
                    <a:pt x="47" y="10"/>
                    <a:pt x="43" y="8"/>
                    <a:pt x="37" y="7"/>
                  </a:cubicBezTo>
                  <a:cubicBezTo>
                    <a:pt x="65" y="3"/>
                    <a:pt x="89" y="3"/>
                    <a:pt x="124" y="16"/>
                  </a:cubicBezTo>
                  <a:cubicBezTo>
                    <a:pt x="129" y="18"/>
                    <a:pt x="134" y="19"/>
                    <a:pt x="139" y="22"/>
                  </a:cubicBezTo>
                  <a:cubicBezTo>
                    <a:pt x="142" y="24"/>
                    <a:pt x="146" y="25"/>
                    <a:pt x="150" y="27"/>
                  </a:cubicBezTo>
                  <a:cubicBezTo>
                    <a:pt x="154" y="28"/>
                    <a:pt x="157" y="29"/>
                    <a:pt x="161" y="30"/>
                  </a:cubicBezTo>
                  <a:cubicBezTo>
                    <a:pt x="162" y="30"/>
                    <a:pt x="163" y="31"/>
                    <a:pt x="164" y="31"/>
                  </a:cubicBezTo>
                  <a:cubicBezTo>
                    <a:pt x="165" y="31"/>
                    <a:pt x="165" y="31"/>
                    <a:pt x="166" y="32"/>
                  </a:cubicBezTo>
                  <a:cubicBezTo>
                    <a:pt x="166" y="32"/>
                    <a:pt x="167" y="32"/>
                    <a:pt x="167" y="32"/>
                  </a:cubicBezTo>
                  <a:close/>
                  <a:moveTo>
                    <a:pt x="179" y="20"/>
                  </a:moveTo>
                  <a:cubicBezTo>
                    <a:pt x="183" y="18"/>
                    <a:pt x="194" y="15"/>
                    <a:pt x="196" y="15"/>
                  </a:cubicBezTo>
                  <a:cubicBezTo>
                    <a:pt x="189" y="18"/>
                    <a:pt x="177" y="27"/>
                    <a:pt x="173" y="35"/>
                  </a:cubicBezTo>
                  <a:cubicBezTo>
                    <a:pt x="175" y="40"/>
                    <a:pt x="179" y="49"/>
                    <a:pt x="185" y="55"/>
                  </a:cubicBezTo>
                  <a:cubicBezTo>
                    <a:pt x="177" y="51"/>
                    <a:pt x="170" y="45"/>
                    <a:pt x="166" y="37"/>
                  </a:cubicBezTo>
                  <a:cubicBezTo>
                    <a:pt x="166" y="37"/>
                    <a:pt x="166" y="37"/>
                    <a:pt x="167" y="37"/>
                  </a:cubicBezTo>
                  <a:cubicBezTo>
                    <a:pt x="167" y="37"/>
                    <a:pt x="167" y="37"/>
                    <a:pt x="168" y="37"/>
                  </a:cubicBezTo>
                  <a:cubicBezTo>
                    <a:pt x="168" y="37"/>
                    <a:pt x="168" y="37"/>
                    <a:pt x="168" y="37"/>
                  </a:cubicBezTo>
                  <a:cubicBezTo>
                    <a:pt x="168" y="38"/>
                    <a:pt x="169" y="41"/>
                    <a:pt x="173" y="45"/>
                  </a:cubicBezTo>
                  <a:cubicBezTo>
                    <a:pt x="176" y="50"/>
                    <a:pt x="180" y="51"/>
                    <a:pt x="180" y="51"/>
                  </a:cubicBezTo>
                  <a:cubicBezTo>
                    <a:pt x="176" y="48"/>
                    <a:pt x="175" y="46"/>
                    <a:pt x="173" y="45"/>
                  </a:cubicBezTo>
                  <a:cubicBezTo>
                    <a:pt x="171" y="43"/>
                    <a:pt x="169" y="38"/>
                    <a:pt x="169" y="37"/>
                  </a:cubicBezTo>
                  <a:cubicBezTo>
                    <a:pt x="169" y="37"/>
                    <a:pt x="169" y="37"/>
                    <a:pt x="170" y="37"/>
                  </a:cubicBezTo>
                  <a:cubicBezTo>
                    <a:pt x="170" y="37"/>
                    <a:pt x="170" y="37"/>
                    <a:pt x="170" y="37"/>
                  </a:cubicBezTo>
                  <a:cubicBezTo>
                    <a:pt x="175" y="46"/>
                    <a:pt x="180" y="50"/>
                    <a:pt x="180" y="50"/>
                  </a:cubicBezTo>
                  <a:cubicBezTo>
                    <a:pt x="175" y="45"/>
                    <a:pt x="171" y="38"/>
                    <a:pt x="171" y="36"/>
                  </a:cubicBezTo>
                  <a:cubicBezTo>
                    <a:pt x="171" y="36"/>
                    <a:pt x="172" y="35"/>
                    <a:pt x="171" y="33"/>
                  </a:cubicBezTo>
                  <a:cubicBezTo>
                    <a:pt x="172" y="34"/>
                    <a:pt x="172" y="34"/>
                    <a:pt x="172" y="34"/>
                  </a:cubicBezTo>
                  <a:cubicBezTo>
                    <a:pt x="176" y="27"/>
                    <a:pt x="178" y="26"/>
                    <a:pt x="186" y="20"/>
                  </a:cubicBezTo>
                  <a:cubicBezTo>
                    <a:pt x="185" y="20"/>
                    <a:pt x="179" y="23"/>
                    <a:pt x="171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0" y="31"/>
                    <a:pt x="170" y="31"/>
                    <a:pt x="170" y="31"/>
                  </a:cubicBezTo>
                  <a:cubicBezTo>
                    <a:pt x="171" y="30"/>
                    <a:pt x="178" y="22"/>
                    <a:pt x="183" y="20"/>
                  </a:cubicBezTo>
                  <a:cubicBezTo>
                    <a:pt x="184" y="19"/>
                    <a:pt x="185" y="19"/>
                    <a:pt x="186" y="18"/>
                  </a:cubicBezTo>
                  <a:cubicBezTo>
                    <a:pt x="187" y="18"/>
                    <a:pt x="188" y="18"/>
                    <a:pt x="188" y="17"/>
                  </a:cubicBezTo>
                  <a:cubicBezTo>
                    <a:pt x="188" y="17"/>
                    <a:pt x="187" y="18"/>
                    <a:pt x="186" y="18"/>
                  </a:cubicBezTo>
                  <a:cubicBezTo>
                    <a:pt x="184" y="19"/>
                    <a:pt x="183" y="19"/>
                    <a:pt x="182" y="20"/>
                  </a:cubicBezTo>
                  <a:cubicBezTo>
                    <a:pt x="180" y="21"/>
                    <a:pt x="177" y="23"/>
                    <a:pt x="175" y="25"/>
                  </a:cubicBezTo>
                  <a:cubicBezTo>
                    <a:pt x="174" y="26"/>
                    <a:pt x="173" y="27"/>
                    <a:pt x="172" y="28"/>
                  </a:cubicBezTo>
                  <a:cubicBezTo>
                    <a:pt x="171" y="29"/>
                    <a:pt x="170" y="30"/>
                    <a:pt x="169" y="30"/>
                  </a:cubicBezTo>
                  <a:cubicBezTo>
                    <a:pt x="169" y="31"/>
                    <a:pt x="169" y="31"/>
                    <a:pt x="168" y="31"/>
                  </a:cubicBezTo>
                  <a:cubicBezTo>
                    <a:pt x="168" y="31"/>
                    <a:pt x="167" y="31"/>
                    <a:pt x="167" y="31"/>
                  </a:cubicBezTo>
                  <a:cubicBezTo>
                    <a:pt x="171" y="26"/>
                    <a:pt x="175" y="23"/>
                    <a:pt x="179" y="2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4" name="Freeform 411">
              <a:extLst>
                <a:ext uri="{FF2B5EF4-FFF2-40B4-BE49-F238E27FC236}">
                  <a16:creationId xmlns:a16="http://schemas.microsoft.com/office/drawing/2014/main" id="{3C03ECE5-0617-4A87-A5EB-9D6E66A63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9575" y="2351088"/>
              <a:ext cx="219075" cy="7938"/>
            </a:xfrm>
            <a:custGeom>
              <a:avLst/>
              <a:gdLst>
                <a:gd name="T0" fmla="*/ 74 w 83"/>
                <a:gd name="T1" fmla="*/ 1 h 3"/>
                <a:gd name="T2" fmla="*/ 61 w 83"/>
                <a:gd name="T3" fmla="*/ 3 h 3"/>
                <a:gd name="T4" fmla="*/ 40 w 83"/>
                <a:gd name="T5" fmla="*/ 3 h 3"/>
                <a:gd name="T6" fmla="*/ 20 w 83"/>
                <a:gd name="T7" fmla="*/ 2 h 3"/>
                <a:gd name="T8" fmla="*/ 16 w 83"/>
                <a:gd name="T9" fmla="*/ 2 h 3"/>
                <a:gd name="T10" fmla="*/ 13 w 83"/>
                <a:gd name="T11" fmla="*/ 2 h 3"/>
                <a:gd name="T12" fmla="*/ 8 w 83"/>
                <a:gd name="T13" fmla="*/ 1 h 3"/>
                <a:gd name="T14" fmla="*/ 4 w 83"/>
                <a:gd name="T15" fmla="*/ 0 h 3"/>
                <a:gd name="T16" fmla="*/ 2 w 83"/>
                <a:gd name="T17" fmla="*/ 0 h 3"/>
                <a:gd name="T18" fmla="*/ 0 w 83"/>
                <a:gd name="T19" fmla="*/ 0 h 3"/>
                <a:gd name="T20" fmla="*/ 2 w 83"/>
                <a:gd name="T21" fmla="*/ 0 h 3"/>
                <a:gd name="T22" fmla="*/ 9 w 83"/>
                <a:gd name="T23" fmla="*/ 0 h 3"/>
                <a:gd name="T24" fmla="*/ 41 w 83"/>
                <a:gd name="T25" fmla="*/ 2 h 3"/>
                <a:gd name="T26" fmla="*/ 62 w 83"/>
                <a:gd name="T27" fmla="*/ 2 h 3"/>
                <a:gd name="T28" fmla="*/ 74 w 83"/>
                <a:gd name="T29" fmla="*/ 1 h 3"/>
                <a:gd name="T30" fmla="*/ 81 w 83"/>
                <a:gd name="T31" fmla="*/ 0 h 3"/>
                <a:gd name="T32" fmla="*/ 83 w 83"/>
                <a:gd name="T33" fmla="*/ 0 h 3"/>
                <a:gd name="T34" fmla="*/ 81 w 83"/>
                <a:gd name="T35" fmla="*/ 0 h 3"/>
                <a:gd name="T36" fmla="*/ 74 w 83"/>
                <a:gd name="T3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" h="3">
                  <a:moveTo>
                    <a:pt x="74" y="1"/>
                  </a:moveTo>
                  <a:cubicBezTo>
                    <a:pt x="71" y="1"/>
                    <a:pt x="67" y="2"/>
                    <a:pt x="61" y="3"/>
                  </a:cubicBezTo>
                  <a:cubicBezTo>
                    <a:pt x="56" y="3"/>
                    <a:pt x="49" y="3"/>
                    <a:pt x="40" y="3"/>
                  </a:cubicBezTo>
                  <a:cubicBezTo>
                    <a:pt x="32" y="3"/>
                    <a:pt x="25" y="3"/>
                    <a:pt x="20" y="2"/>
                  </a:cubicBezTo>
                  <a:cubicBezTo>
                    <a:pt x="18" y="2"/>
                    <a:pt x="17" y="2"/>
                    <a:pt x="16" y="2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1" y="1"/>
                    <a:pt x="9" y="1"/>
                    <a:pt x="8" y="1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0"/>
                    <a:pt x="6" y="0"/>
                    <a:pt x="9" y="0"/>
                  </a:cubicBezTo>
                  <a:cubicBezTo>
                    <a:pt x="15" y="1"/>
                    <a:pt x="25" y="2"/>
                    <a:pt x="41" y="2"/>
                  </a:cubicBezTo>
                  <a:cubicBezTo>
                    <a:pt x="49" y="2"/>
                    <a:pt x="56" y="2"/>
                    <a:pt x="62" y="2"/>
                  </a:cubicBezTo>
                  <a:cubicBezTo>
                    <a:pt x="67" y="1"/>
                    <a:pt x="71" y="1"/>
                    <a:pt x="74" y="1"/>
                  </a:cubicBezTo>
                  <a:cubicBezTo>
                    <a:pt x="78" y="0"/>
                    <a:pt x="80" y="0"/>
                    <a:pt x="81" y="0"/>
                  </a:cubicBezTo>
                  <a:cubicBezTo>
                    <a:pt x="82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80" y="0"/>
                    <a:pt x="78" y="1"/>
                    <a:pt x="7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5" name="Freeform 412">
              <a:extLst>
                <a:ext uri="{FF2B5EF4-FFF2-40B4-BE49-F238E27FC236}">
                  <a16:creationId xmlns:a16="http://schemas.microsoft.com/office/drawing/2014/main" id="{6C7AD064-344A-467C-AEE3-A40527C11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00" y="2276476"/>
              <a:ext cx="139700" cy="22225"/>
            </a:xfrm>
            <a:custGeom>
              <a:avLst/>
              <a:gdLst>
                <a:gd name="T0" fmla="*/ 39 w 53"/>
                <a:gd name="T1" fmla="*/ 5 h 8"/>
                <a:gd name="T2" fmla="*/ 26 w 53"/>
                <a:gd name="T3" fmla="*/ 3 h 8"/>
                <a:gd name="T4" fmla="*/ 13 w 53"/>
                <a:gd name="T5" fmla="*/ 2 h 8"/>
                <a:gd name="T6" fmla="*/ 10 w 53"/>
                <a:gd name="T7" fmla="*/ 1 h 8"/>
                <a:gd name="T8" fmla="*/ 8 w 53"/>
                <a:gd name="T9" fmla="*/ 1 h 8"/>
                <a:gd name="T10" fmla="*/ 5 w 53"/>
                <a:gd name="T11" fmla="*/ 1 h 8"/>
                <a:gd name="T12" fmla="*/ 1 w 53"/>
                <a:gd name="T13" fmla="*/ 1 h 8"/>
                <a:gd name="T14" fmla="*/ 0 w 53"/>
                <a:gd name="T15" fmla="*/ 1 h 8"/>
                <a:gd name="T16" fmla="*/ 1 w 53"/>
                <a:gd name="T17" fmla="*/ 1 h 8"/>
                <a:gd name="T18" fmla="*/ 5 w 53"/>
                <a:gd name="T19" fmla="*/ 1 h 8"/>
                <a:gd name="T20" fmla="*/ 26 w 53"/>
                <a:gd name="T21" fmla="*/ 2 h 8"/>
                <a:gd name="T22" fmla="*/ 40 w 53"/>
                <a:gd name="T23" fmla="*/ 4 h 8"/>
                <a:gd name="T24" fmla="*/ 48 w 53"/>
                <a:gd name="T25" fmla="*/ 7 h 8"/>
                <a:gd name="T26" fmla="*/ 52 w 53"/>
                <a:gd name="T27" fmla="*/ 8 h 8"/>
                <a:gd name="T28" fmla="*/ 53 w 53"/>
                <a:gd name="T29" fmla="*/ 8 h 8"/>
                <a:gd name="T30" fmla="*/ 52 w 53"/>
                <a:gd name="T31" fmla="*/ 8 h 8"/>
                <a:gd name="T32" fmla="*/ 48 w 53"/>
                <a:gd name="T33" fmla="*/ 7 h 8"/>
                <a:gd name="T34" fmla="*/ 39 w 53"/>
                <a:gd name="T3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8">
                  <a:moveTo>
                    <a:pt x="39" y="5"/>
                  </a:moveTo>
                  <a:cubicBezTo>
                    <a:pt x="36" y="4"/>
                    <a:pt x="31" y="4"/>
                    <a:pt x="26" y="3"/>
                  </a:cubicBezTo>
                  <a:cubicBezTo>
                    <a:pt x="20" y="2"/>
                    <a:pt x="16" y="2"/>
                    <a:pt x="13" y="2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0"/>
                    <a:pt x="5" y="1"/>
                  </a:cubicBezTo>
                  <a:cubicBezTo>
                    <a:pt x="9" y="1"/>
                    <a:pt x="16" y="1"/>
                    <a:pt x="26" y="2"/>
                  </a:cubicBezTo>
                  <a:cubicBezTo>
                    <a:pt x="32" y="3"/>
                    <a:pt x="36" y="4"/>
                    <a:pt x="40" y="4"/>
                  </a:cubicBezTo>
                  <a:cubicBezTo>
                    <a:pt x="43" y="5"/>
                    <a:pt x="46" y="6"/>
                    <a:pt x="48" y="7"/>
                  </a:cubicBezTo>
                  <a:cubicBezTo>
                    <a:pt x="50" y="7"/>
                    <a:pt x="51" y="8"/>
                    <a:pt x="52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2" y="8"/>
                  </a:cubicBezTo>
                  <a:cubicBezTo>
                    <a:pt x="51" y="8"/>
                    <a:pt x="50" y="7"/>
                    <a:pt x="48" y="7"/>
                  </a:cubicBezTo>
                  <a:cubicBezTo>
                    <a:pt x="46" y="6"/>
                    <a:pt x="43" y="6"/>
                    <a:pt x="39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6" name="Freeform 413">
              <a:extLst>
                <a:ext uri="{FF2B5EF4-FFF2-40B4-BE49-F238E27FC236}">
                  <a16:creationId xmlns:a16="http://schemas.microsoft.com/office/drawing/2014/main" id="{36D44746-9115-4538-9F98-4DB913E52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8000" y="2327276"/>
              <a:ext cx="80963" cy="4763"/>
            </a:xfrm>
            <a:custGeom>
              <a:avLst/>
              <a:gdLst>
                <a:gd name="T0" fmla="*/ 15 w 31"/>
                <a:gd name="T1" fmla="*/ 1 h 2"/>
                <a:gd name="T2" fmla="*/ 0 w 31"/>
                <a:gd name="T3" fmla="*/ 0 h 2"/>
                <a:gd name="T4" fmla="*/ 15 w 31"/>
                <a:gd name="T5" fmla="*/ 0 h 2"/>
                <a:gd name="T6" fmla="*/ 31 w 31"/>
                <a:gd name="T7" fmla="*/ 2 h 2"/>
                <a:gd name="T8" fmla="*/ 15 w 3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">
                  <a:moveTo>
                    <a:pt x="15" y="1"/>
                  </a:moveTo>
                  <a:cubicBezTo>
                    <a:pt x="3" y="0"/>
                    <a:pt x="0" y="0"/>
                    <a:pt x="0" y="0"/>
                  </a:cubicBezTo>
                  <a:cubicBezTo>
                    <a:pt x="0" y="0"/>
                    <a:pt x="4" y="0"/>
                    <a:pt x="15" y="0"/>
                  </a:cubicBezTo>
                  <a:cubicBezTo>
                    <a:pt x="28" y="1"/>
                    <a:pt x="31" y="2"/>
                    <a:pt x="31" y="2"/>
                  </a:cubicBezTo>
                  <a:cubicBezTo>
                    <a:pt x="31" y="2"/>
                    <a:pt x="28" y="2"/>
                    <a:pt x="1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7" name="Freeform 414">
              <a:extLst>
                <a:ext uri="{FF2B5EF4-FFF2-40B4-BE49-F238E27FC236}">
                  <a16:creationId xmlns:a16="http://schemas.microsoft.com/office/drawing/2014/main" id="{A0D7DDA5-1716-487F-9D07-607BED4EA2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800" y="2327276"/>
              <a:ext cx="422275" cy="60325"/>
            </a:xfrm>
            <a:custGeom>
              <a:avLst/>
              <a:gdLst>
                <a:gd name="T0" fmla="*/ 160 w 160"/>
                <a:gd name="T1" fmla="*/ 6 h 23"/>
                <a:gd name="T2" fmla="*/ 160 w 160"/>
                <a:gd name="T3" fmla="*/ 8 h 23"/>
                <a:gd name="T4" fmla="*/ 158 w 160"/>
                <a:gd name="T5" fmla="*/ 8 h 23"/>
                <a:gd name="T6" fmla="*/ 155 w 160"/>
                <a:gd name="T7" fmla="*/ 8 h 23"/>
                <a:gd name="T8" fmla="*/ 151 w 160"/>
                <a:gd name="T9" fmla="*/ 9 h 23"/>
                <a:gd name="T10" fmla="*/ 120 w 160"/>
                <a:gd name="T11" fmla="*/ 14 h 23"/>
                <a:gd name="T12" fmla="*/ 112 w 160"/>
                <a:gd name="T13" fmla="*/ 15 h 23"/>
                <a:gd name="T14" fmla="*/ 0 w 160"/>
                <a:gd name="T15" fmla="*/ 0 h 23"/>
                <a:gd name="T16" fmla="*/ 47 w 160"/>
                <a:gd name="T17" fmla="*/ 14 h 23"/>
                <a:gd name="T18" fmla="*/ 75 w 160"/>
                <a:gd name="T19" fmla="*/ 16 h 23"/>
                <a:gd name="T20" fmla="*/ 100 w 160"/>
                <a:gd name="T21" fmla="*/ 15 h 23"/>
                <a:gd name="T22" fmla="*/ 124 w 160"/>
                <a:gd name="T23" fmla="*/ 12 h 23"/>
                <a:gd name="T24" fmla="*/ 138 w 160"/>
                <a:gd name="T25" fmla="*/ 10 h 23"/>
                <a:gd name="T26" fmla="*/ 148 w 160"/>
                <a:gd name="T27" fmla="*/ 8 h 23"/>
                <a:gd name="T28" fmla="*/ 157 w 160"/>
                <a:gd name="T29" fmla="*/ 8 h 23"/>
                <a:gd name="T30" fmla="*/ 159 w 160"/>
                <a:gd name="T31" fmla="*/ 7 h 23"/>
                <a:gd name="T32" fmla="*/ 157 w 160"/>
                <a:gd name="T33" fmla="*/ 6 h 23"/>
                <a:gd name="T34" fmla="*/ 152 w 160"/>
                <a:gd name="T35" fmla="*/ 5 h 23"/>
                <a:gd name="T36" fmla="*/ 144 w 160"/>
                <a:gd name="T37" fmla="*/ 2 h 23"/>
                <a:gd name="T38" fmla="*/ 143 w 160"/>
                <a:gd name="T39" fmla="*/ 1 h 23"/>
                <a:gd name="T40" fmla="*/ 145 w 160"/>
                <a:gd name="T41" fmla="*/ 2 h 23"/>
                <a:gd name="T42" fmla="*/ 152 w 160"/>
                <a:gd name="T43" fmla="*/ 4 h 23"/>
                <a:gd name="T44" fmla="*/ 157 w 160"/>
                <a:gd name="T45" fmla="*/ 5 h 23"/>
                <a:gd name="T46" fmla="*/ 160 w 160"/>
                <a:gd name="T47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" h="23">
                  <a:moveTo>
                    <a:pt x="160" y="6"/>
                  </a:moveTo>
                  <a:cubicBezTo>
                    <a:pt x="160" y="7"/>
                    <a:pt x="160" y="7"/>
                    <a:pt x="160" y="8"/>
                  </a:cubicBezTo>
                  <a:cubicBezTo>
                    <a:pt x="160" y="8"/>
                    <a:pt x="159" y="8"/>
                    <a:pt x="158" y="8"/>
                  </a:cubicBezTo>
                  <a:cubicBezTo>
                    <a:pt x="157" y="8"/>
                    <a:pt x="156" y="8"/>
                    <a:pt x="155" y="8"/>
                  </a:cubicBezTo>
                  <a:cubicBezTo>
                    <a:pt x="154" y="8"/>
                    <a:pt x="152" y="8"/>
                    <a:pt x="151" y="9"/>
                  </a:cubicBezTo>
                  <a:cubicBezTo>
                    <a:pt x="141" y="10"/>
                    <a:pt x="130" y="12"/>
                    <a:pt x="120" y="14"/>
                  </a:cubicBezTo>
                  <a:cubicBezTo>
                    <a:pt x="117" y="14"/>
                    <a:pt x="115" y="15"/>
                    <a:pt x="112" y="15"/>
                  </a:cubicBezTo>
                  <a:cubicBezTo>
                    <a:pt x="71" y="23"/>
                    <a:pt x="30" y="15"/>
                    <a:pt x="0" y="0"/>
                  </a:cubicBezTo>
                  <a:cubicBezTo>
                    <a:pt x="3" y="0"/>
                    <a:pt x="20" y="9"/>
                    <a:pt x="47" y="14"/>
                  </a:cubicBezTo>
                  <a:cubicBezTo>
                    <a:pt x="56" y="15"/>
                    <a:pt x="66" y="16"/>
                    <a:pt x="75" y="16"/>
                  </a:cubicBezTo>
                  <a:cubicBezTo>
                    <a:pt x="83" y="17"/>
                    <a:pt x="92" y="16"/>
                    <a:pt x="100" y="15"/>
                  </a:cubicBezTo>
                  <a:cubicBezTo>
                    <a:pt x="108" y="14"/>
                    <a:pt x="116" y="13"/>
                    <a:pt x="124" y="12"/>
                  </a:cubicBezTo>
                  <a:cubicBezTo>
                    <a:pt x="129" y="11"/>
                    <a:pt x="133" y="10"/>
                    <a:pt x="138" y="10"/>
                  </a:cubicBezTo>
                  <a:cubicBezTo>
                    <a:pt x="141" y="9"/>
                    <a:pt x="145" y="9"/>
                    <a:pt x="148" y="8"/>
                  </a:cubicBezTo>
                  <a:cubicBezTo>
                    <a:pt x="151" y="8"/>
                    <a:pt x="154" y="7"/>
                    <a:pt x="157" y="8"/>
                  </a:cubicBezTo>
                  <a:cubicBezTo>
                    <a:pt x="158" y="8"/>
                    <a:pt x="159" y="8"/>
                    <a:pt x="159" y="7"/>
                  </a:cubicBezTo>
                  <a:cubicBezTo>
                    <a:pt x="160" y="6"/>
                    <a:pt x="157" y="6"/>
                    <a:pt x="157" y="6"/>
                  </a:cubicBezTo>
                  <a:cubicBezTo>
                    <a:pt x="155" y="5"/>
                    <a:pt x="154" y="5"/>
                    <a:pt x="152" y="5"/>
                  </a:cubicBezTo>
                  <a:cubicBezTo>
                    <a:pt x="148" y="4"/>
                    <a:pt x="146" y="3"/>
                    <a:pt x="144" y="2"/>
                  </a:cubicBezTo>
                  <a:cubicBezTo>
                    <a:pt x="143" y="2"/>
                    <a:pt x="143" y="1"/>
                    <a:pt x="143" y="1"/>
                  </a:cubicBezTo>
                  <a:cubicBezTo>
                    <a:pt x="143" y="1"/>
                    <a:pt x="143" y="1"/>
                    <a:pt x="145" y="2"/>
                  </a:cubicBezTo>
                  <a:cubicBezTo>
                    <a:pt x="146" y="2"/>
                    <a:pt x="148" y="3"/>
                    <a:pt x="152" y="4"/>
                  </a:cubicBezTo>
                  <a:cubicBezTo>
                    <a:pt x="154" y="5"/>
                    <a:pt x="155" y="5"/>
                    <a:pt x="157" y="5"/>
                  </a:cubicBezTo>
                  <a:cubicBezTo>
                    <a:pt x="158" y="5"/>
                    <a:pt x="159" y="6"/>
                    <a:pt x="160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8" name="Freeform 415">
              <a:extLst>
                <a:ext uri="{FF2B5EF4-FFF2-40B4-BE49-F238E27FC236}">
                  <a16:creationId xmlns:a16="http://schemas.microsoft.com/office/drawing/2014/main" id="{B10DE645-FD2D-4FDB-AF93-2DDE548A1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888" y="2332038"/>
              <a:ext cx="142875" cy="6350"/>
            </a:xfrm>
            <a:custGeom>
              <a:avLst/>
              <a:gdLst>
                <a:gd name="T0" fmla="*/ 54 w 54"/>
                <a:gd name="T1" fmla="*/ 2 h 2"/>
                <a:gd name="T2" fmla="*/ 48 w 54"/>
                <a:gd name="T3" fmla="*/ 2 h 2"/>
                <a:gd name="T4" fmla="*/ 26 w 54"/>
                <a:gd name="T5" fmla="*/ 2 h 2"/>
                <a:gd name="T6" fmla="*/ 4 w 54"/>
                <a:gd name="T7" fmla="*/ 0 h 2"/>
                <a:gd name="T8" fmla="*/ 0 w 54"/>
                <a:gd name="T9" fmla="*/ 0 h 2"/>
                <a:gd name="T10" fmla="*/ 5 w 54"/>
                <a:gd name="T11" fmla="*/ 0 h 2"/>
                <a:gd name="T12" fmla="*/ 26 w 54"/>
                <a:gd name="T13" fmla="*/ 1 h 2"/>
                <a:gd name="T14" fmla="*/ 48 w 54"/>
                <a:gd name="T15" fmla="*/ 2 h 2"/>
                <a:gd name="T16" fmla="*/ 54 w 54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2">
                  <a:moveTo>
                    <a:pt x="54" y="2"/>
                  </a:moveTo>
                  <a:cubicBezTo>
                    <a:pt x="54" y="2"/>
                    <a:pt x="53" y="2"/>
                    <a:pt x="48" y="2"/>
                  </a:cubicBezTo>
                  <a:cubicBezTo>
                    <a:pt x="44" y="2"/>
                    <a:pt x="37" y="2"/>
                    <a:pt x="26" y="2"/>
                  </a:cubicBezTo>
                  <a:cubicBezTo>
                    <a:pt x="15" y="1"/>
                    <a:pt x="8" y="1"/>
                    <a:pt x="4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5" y="0"/>
                  </a:cubicBezTo>
                  <a:cubicBezTo>
                    <a:pt x="9" y="0"/>
                    <a:pt x="16" y="0"/>
                    <a:pt x="26" y="1"/>
                  </a:cubicBezTo>
                  <a:cubicBezTo>
                    <a:pt x="37" y="1"/>
                    <a:pt x="44" y="2"/>
                    <a:pt x="48" y="2"/>
                  </a:cubicBezTo>
                  <a:cubicBezTo>
                    <a:pt x="53" y="2"/>
                    <a:pt x="54" y="2"/>
                    <a:pt x="54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9" name="Freeform 416">
              <a:extLst>
                <a:ext uri="{FF2B5EF4-FFF2-40B4-BE49-F238E27FC236}">
                  <a16:creationId xmlns:a16="http://schemas.microsoft.com/office/drawing/2014/main" id="{656DB874-3A4D-48F1-BC39-CE8440DF9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200" y="2306638"/>
              <a:ext cx="14288" cy="15875"/>
            </a:xfrm>
            <a:custGeom>
              <a:avLst/>
              <a:gdLst>
                <a:gd name="T0" fmla="*/ 5 w 5"/>
                <a:gd name="T1" fmla="*/ 6 h 6"/>
                <a:gd name="T2" fmla="*/ 5 w 5"/>
                <a:gd name="T3" fmla="*/ 6 h 6"/>
                <a:gd name="T4" fmla="*/ 5 w 5"/>
                <a:gd name="T5" fmla="*/ 6 h 6"/>
                <a:gd name="T6" fmla="*/ 5 w 5"/>
                <a:gd name="T7" fmla="*/ 5 h 6"/>
                <a:gd name="T8" fmla="*/ 5 w 5"/>
                <a:gd name="T9" fmla="*/ 4 h 6"/>
                <a:gd name="T10" fmla="*/ 4 w 5"/>
                <a:gd name="T11" fmla="*/ 2 h 6"/>
                <a:gd name="T12" fmla="*/ 2 w 5"/>
                <a:gd name="T13" fmla="*/ 1 h 6"/>
                <a:gd name="T14" fmla="*/ 1 w 5"/>
                <a:gd name="T15" fmla="*/ 0 h 6"/>
                <a:gd name="T16" fmla="*/ 0 w 5"/>
                <a:gd name="T17" fmla="*/ 0 h 6"/>
                <a:gd name="T18" fmla="*/ 0 w 5"/>
                <a:gd name="T19" fmla="*/ 0 h 6"/>
                <a:gd name="T20" fmla="*/ 0 w 5"/>
                <a:gd name="T21" fmla="*/ 0 h 6"/>
                <a:gd name="T22" fmla="*/ 1 w 5"/>
                <a:gd name="T23" fmla="*/ 0 h 6"/>
                <a:gd name="T24" fmla="*/ 2 w 5"/>
                <a:gd name="T25" fmla="*/ 0 h 6"/>
                <a:gd name="T26" fmla="*/ 4 w 5"/>
                <a:gd name="T27" fmla="*/ 1 h 6"/>
                <a:gd name="T28" fmla="*/ 5 w 5"/>
                <a:gd name="T29" fmla="*/ 4 h 6"/>
                <a:gd name="T30" fmla="*/ 5 w 5"/>
                <a:gd name="T31" fmla="*/ 5 h 6"/>
                <a:gd name="T32" fmla="*/ 5 w 5"/>
                <a:gd name="T3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5" y="2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0" name="Freeform 417">
              <a:extLst>
                <a:ext uri="{FF2B5EF4-FFF2-40B4-BE49-F238E27FC236}">
                  <a16:creationId xmlns:a16="http://schemas.microsoft.com/office/drawing/2014/main" id="{C7A917AD-E47E-48A8-8527-4BA5D4B56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5" y="1917701"/>
              <a:ext cx="31750" cy="33338"/>
            </a:xfrm>
            <a:custGeom>
              <a:avLst/>
              <a:gdLst>
                <a:gd name="T0" fmla="*/ 0 w 12"/>
                <a:gd name="T1" fmla="*/ 13 h 13"/>
                <a:gd name="T2" fmla="*/ 11 w 12"/>
                <a:gd name="T3" fmla="*/ 6 h 13"/>
                <a:gd name="T4" fmla="*/ 6 w 12"/>
                <a:gd name="T5" fmla="*/ 0 h 13"/>
                <a:gd name="T6" fmla="*/ 9 w 12"/>
                <a:gd name="T7" fmla="*/ 1 h 13"/>
                <a:gd name="T8" fmla="*/ 9 w 12"/>
                <a:gd name="T9" fmla="*/ 10 h 13"/>
                <a:gd name="T10" fmla="*/ 0 w 12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3">
                  <a:moveTo>
                    <a:pt x="0" y="13"/>
                  </a:moveTo>
                  <a:cubicBezTo>
                    <a:pt x="1" y="13"/>
                    <a:pt x="10" y="12"/>
                    <a:pt x="11" y="6"/>
                  </a:cubicBezTo>
                  <a:cubicBezTo>
                    <a:pt x="10" y="3"/>
                    <a:pt x="9" y="2"/>
                    <a:pt x="6" y="0"/>
                  </a:cubicBezTo>
                  <a:cubicBezTo>
                    <a:pt x="6" y="0"/>
                    <a:pt x="7" y="0"/>
                    <a:pt x="9" y="1"/>
                  </a:cubicBezTo>
                  <a:cubicBezTo>
                    <a:pt x="12" y="3"/>
                    <a:pt x="12" y="7"/>
                    <a:pt x="9" y="10"/>
                  </a:cubicBezTo>
                  <a:cubicBezTo>
                    <a:pt x="7" y="13"/>
                    <a:pt x="2" y="13"/>
                    <a:pt x="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1" name="Freeform 418">
              <a:extLst>
                <a:ext uri="{FF2B5EF4-FFF2-40B4-BE49-F238E27FC236}">
                  <a16:creationId xmlns:a16="http://schemas.microsoft.com/office/drawing/2014/main" id="{861AECF0-52E9-4AD9-9012-06205A0E9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0" y="1965326"/>
              <a:ext cx="50800" cy="57150"/>
            </a:xfrm>
            <a:custGeom>
              <a:avLst/>
              <a:gdLst>
                <a:gd name="T0" fmla="*/ 3 w 19"/>
                <a:gd name="T1" fmla="*/ 0 h 22"/>
                <a:gd name="T2" fmla="*/ 4 w 19"/>
                <a:gd name="T3" fmla="*/ 8 h 22"/>
                <a:gd name="T4" fmla="*/ 15 w 19"/>
                <a:gd name="T5" fmla="*/ 20 h 22"/>
                <a:gd name="T6" fmla="*/ 9 w 19"/>
                <a:gd name="T7" fmla="*/ 5 h 22"/>
                <a:gd name="T8" fmla="*/ 8 w 19"/>
                <a:gd name="T9" fmla="*/ 0 h 22"/>
                <a:gd name="T10" fmla="*/ 10 w 19"/>
                <a:gd name="T11" fmla="*/ 1 h 22"/>
                <a:gd name="T12" fmla="*/ 11 w 19"/>
                <a:gd name="T13" fmla="*/ 5 h 22"/>
                <a:gd name="T14" fmla="*/ 13 w 19"/>
                <a:gd name="T15" fmla="*/ 13 h 22"/>
                <a:gd name="T16" fmla="*/ 14 w 19"/>
                <a:gd name="T17" fmla="*/ 21 h 22"/>
                <a:gd name="T18" fmla="*/ 8 w 19"/>
                <a:gd name="T19" fmla="*/ 16 h 22"/>
                <a:gd name="T20" fmla="*/ 2 w 19"/>
                <a:gd name="T21" fmla="*/ 6 h 22"/>
                <a:gd name="T22" fmla="*/ 3 w 19"/>
                <a:gd name="T2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22">
                  <a:moveTo>
                    <a:pt x="3" y="0"/>
                  </a:moveTo>
                  <a:cubicBezTo>
                    <a:pt x="3" y="1"/>
                    <a:pt x="0" y="1"/>
                    <a:pt x="4" y="8"/>
                  </a:cubicBezTo>
                  <a:cubicBezTo>
                    <a:pt x="6" y="14"/>
                    <a:pt x="14" y="22"/>
                    <a:pt x="15" y="20"/>
                  </a:cubicBezTo>
                  <a:cubicBezTo>
                    <a:pt x="17" y="18"/>
                    <a:pt x="9" y="9"/>
                    <a:pt x="9" y="5"/>
                  </a:cubicBezTo>
                  <a:cubicBezTo>
                    <a:pt x="9" y="3"/>
                    <a:pt x="10" y="2"/>
                    <a:pt x="8" y="0"/>
                  </a:cubicBezTo>
                  <a:cubicBezTo>
                    <a:pt x="8" y="1"/>
                    <a:pt x="9" y="1"/>
                    <a:pt x="10" y="1"/>
                  </a:cubicBezTo>
                  <a:cubicBezTo>
                    <a:pt x="11" y="2"/>
                    <a:pt x="10" y="4"/>
                    <a:pt x="11" y="5"/>
                  </a:cubicBezTo>
                  <a:cubicBezTo>
                    <a:pt x="11" y="8"/>
                    <a:pt x="12" y="10"/>
                    <a:pt x="13" y="13"/>
                  </a:cubicBezTo>
                  <a:cubicBezTo>
                    <a:pt x="14" y="14"/>
                    <a:pt x="19" y="22"/>
                    <a:pt x="14" y="21"/>
                  </a:cubicBezTo>
                  <a:cubicBezTo>
                    <a:pt x="12" y="20"/>
                    <a:pt x="9" y="18"/>
                    <a:pt x="8" y="16"/>
                  </a:cubicBezTo>
                  <a:cubicBezTo>
                    <a:pt x="5" y="13"/>
                    <a:pt x="3" y="10"/>
                    <a:pt x="2" y="6"/>
                  </a:cubicBezTo>
                  <a:cubicBezTo>
                    <a:pt x="0" y="1"/>
                    <a:pt x="3" y="1"/>
                    <a:pt x="3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2" name="Freeform 419">
              <a:extLst>
                <a:ext uri="{FF2B5EF4-FFF2-40B4-BE49-F238E27FC236}">
                  <a16:creationId xmlns:a16="http://schemas.microsoft.com/office/drawing/2014/main" id="{B0461280-4253-4A90-A0CE-4AF7E7BDE6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2213" y="1920876"/>
              <a:ext cx="25400" cy="22225"/>
            </a:xfrm>
            <a:custGeom>
              <a:avLst/>
              <a:gdLst>
                <a:gd name="T0" fmla="*/ 6 w 10"/>
                <a:gd name="T1" fmla="*/ 2 h 9"/>
                <a:gd name="T2" fmla="*/ 2 w 10"/>
                <a:gd name="T3" fmla="*/ 6 h 9"/>
                <a:gd name="T4" fmla="*/ 8 w 10"/>
                <a:gd name="T5" fmla="*/ 3 h 9"/>
                <a:gd name="T6" fmla="*/ 6 w 10"/>
                <a:gd name="T7" fmla="*/ 2 h 9"/>
                <a:gd name="T8" fmla="*/ 7 w 10"/>
                <a:gd name="T9" fmla="*/ 3 h 9"/>
                <a:gd name="T10" fmla="*/ 7 w 10"/>
                <a:gd name="T11" fmla="*/ 6 h 9"/>
                <a:gd name="T12" fmla="*/ 2 w 10"/>
                <a:gd name="T13" fmla="*/ 4 h 9"/>
                <a:gd name="T14" fmla="*/ 7 w 10"/>
                <a:gd name="T1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9">
                  <a:moveTo>
                    <a:pt x="6" y="2"/>
                  </a:moveTo>
                  <a:cubicBezTo>
                    <a:pt x="3" y="0"/>
                    <a:pt x="0" y="3"/>
                    <a:pt x="2" y="6"/>
                  </a:cubicBezTo>
                  <a:cubicBezTo>
                    <a:pt x="5" y="9"/>
                    <a:pt x="10" y="6"/>
                    <a:pt x="8" y="3"/>
                  </a:cubicBezTo>
                  <a:cubicBezTo>
                    <a:pt x="8" y="2"/>
                    <a:pt x="7" y="2"/>
                    <a:pt x="6" y="2"/>
                  </a:cubicBezTo>
                  <a:close/>
                  <a:moveTo>
                    <a:pt x="7" y="3"/>
                  </a:moveTo>
                  <a:cubicBezTo>
                    <a:pt x="8" y="4"/>
                    <a:pt x="7" y="5"/>
                    <a:pt x="7" y="6"/>
                  </a:cubicBezTo>
                  <a:cubicBezTo>
                    <a:pt x="5" y="8"/>
                    <a:pt x="2" y="6"/>
                    <a:pt x="2" y="4"/>
                  </a:cubicBezTo>
                  <a:cubicBezTo>
                    <a:pt x="2" y="2"/>
                    <a:pt x="6" y="1"/>
                    <a:pt x="7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3" name="Freeform 420">
              <a:extLst>
                <a:ext uri="{FF2B5EF4-FFF2-40B4-BE49-F238E27FC236}">
                  <a16:creationId xmlns:a16="http://schemas.microsoft.com/office/drawing/2014/main" id="{DC7D9820-9541-4456-AE4F-B8F3466637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0150" y="1925638"/>
              <a:ext cx="9525" cy="11113"/>
            </a:xfrm>
            <a:custGeom>
              <a:avLst/>
              <a:gdLst>
                <a:gd name="T0" fmla="*/ 1 w 4"/>
                <a:gd name="T1" fmla="*/ 1 h 4"/>
                <a:gd name="T2" fmla="*/ 2 w 4"/>
                <a:gd name="T3" fmla="*/ 4 h 4"/>
                <a:gd name="T4" fmla="*/ 3 w 4"/>
                <a:gd name="T5" fmla="*/ 2 h 4"/>
                <a:gd name="T6" fmla="*/ 1 w 4"/>
                <a:gd name="T7" fmla="*/ 1 h 4"/>
                <a:gd name="T8" fmla="*/ 1 w 4"/>
                <a:gd name="T9" fmla="*/ 2 h 4"/>
                <a:gd name="T10" fmla="*/ 1 w 4"/>
                <a:gd name="T11" fmla="*/ 2 h 4"/>
                <a:gd name="T12" fmla="*/ 1 w 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0" y="1"/>
                    <a:pt x="0" y="4"/>
                    <a:pt x="2" y="4"/>
                  </a:cubicBezTo>
                  <a:cubicBezTo>
                    <a:pt x="2" y="4"/>
                    <a:pt x="3" y="3"/>
                    <a:pt x="3" y="2"/>
                  </a:cubicBezTo>
                  <a:cubicBezTo>
                    <a:pt x="4" y="1"/>
                    <a:pt x="2" y="0"/>
                    <a:pt x="1" y="1"/>
                  </a:cubicBezTo>
                  <a:close/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1" y="3"/>
                    <a:pt x="1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4" name="Freeform 421">
              <a:extLst>
                <a:ext uri="{FF2B5EF4-FFF2-40B4-BE49-F238E27FC236}">
                  <a16:creationId xmlns:a16="http://schemas.microsoft.com/office/drawing/2014/main" id="{8ADEE9ED-C0BE-4F46-942F-2F1ABE2F1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5" y="1970088"/>
              <a:ext cx="219075" cy="171450"/>
            </a:xfrm>
            <a:custGeom>
              <a:avLst/>
              <a:gdLst>
                <a:gd name="T0" fmla="*/ 83 w 83"/>
                <a:gd name="T1" fmla="*/ 65 h 65"/>
                <a:gd name="T2" fmla="*/ 83 w 83"/>
                <a:gd name="T3" fmla="*/ 65 h 65"/>
                <a:gd name="T4" fmla="*/ 83 w 83"/>
                <a:gd name="T5" fmla="*/ 65 h 65"/>
                <a:gd name="T6" fmla="*/ 70 w 83"/>
                <a:gd name="T7" fmla="*/ 57 h 65"/>
                <a:gd name="T8" fmla="*/ 56 w 83"/>
                <a:gd name="T9" fmla="*/ 50 h 65"/>
                <a:gd name="T10" fmla="*/ 0 w 83"/>
                <a:gd name="T11" fmla="*/ 0 h 65"/>
                <a:gd name="T12" fmla="*/ 57 w 83"/>
                <a:gd name="T13" fmla="*/ 49 h 65"/>
                <a:gd name="T14" fmla="*/ 71 w 83"/>
                <a:gd name="T15" fmla="*/ 57 h 65"/>
                <a:gd name="T16" fmla="*/ 78 w 83"/>
                <a:gd name="T17" fmla="*/ 61 h 65"/>
                <a:gd name="T18" fmla="*/ 83 w 83"/>
                <a:gd name="T1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65">
                  <a:moveTo>
                    <a:pt x="83" y="65"/>
                  </a:moveTo>
                  <a:cubicBezTo>
                    <a:pt x="83" y="65"/>
                    <a:pt x="83" y="65"/>
                    <a:pt x="83" y="65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0" y="63"/>
                    <a:pt x="75" y="60"/>
                    <a:pt x="70" y="57"/>
                  </a:cubicBezTo>
                  <a:cubicBezTo>
                    <a:pt x="67" y="55"/>
                    <a:pt x="62" y="53"/>
                    <a:pt x="56" y="50"/>
                  </a:cubicBezTo>
                  <a:cubicBezTo>
                    <a:pt x="18" y="27"/>
                    <a:pt x="0" y="0"/>
                    <a:pt x="0" y="0"/>
                  </a:cubicBezTo>
                  <a:cubicBezTo>
                    <a:pt x="5" y="5"/>
                    <a:pt x="20" y="27"/>
                    <a:pt x="57" y="49"/>
                  </a:cubicBezTo>
                  <a:cubicBezTo>
                    <a:pt x="63" y="52"/>
                    <a:pt x="67" y="55"/>
                    <a:pt x="71" y="57"/>
                  </a:cubicBezTo>
                  <a:cubicBezTo>
                    <a:pt x="74" y="59"/>
                    <a:pt x="76" y="60"/>
                    <a:pt x="78" y="61"/>
                  </a:cubicBezTo>
                  <a:cubicBezTo>
                    <a:pt x="78" y="62"/>
                    <a:pt x="81" y="64"/>
                    <a:pt x="83" y="6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5" name="Freeform 422">
              <a:extLst>
                <a:ext uri="{FF2B5EF4-FFF2-40B4-BE49-F238E27FC236}">
                  <a16:creationId xmlns:a16="http://schemas.microsoft.com/office/drawing/2014/main" id="{7004B317-F8B9-4815-BFEC-6A3707F24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1943101"/>
              <a:ext cx="141288" cy="169863"/>
            </a:xfrm>
            <a:custGeom>
              <a:avLst/>
              <a:gdLst>
                <a:gd name="T0" fmla="*/ 10 w 54"/>
                <a:gd name="T1" fmla="*/ 8 h 64"/>
                <a:gd name="T2" fmla="*/ 0 w 54"/>
                <a:gd name="T3" fmla="*/ 0 h 64"/>
                <a:gd name="T4" fmla="*/ 9 w 54"/>
                <a:gd name="T5" fmla="*/ 6 h 64"/>
                <a:gd name="T6" fmla="*/ 11 w 54"/>
                <a:gd name="T7" fmla="*/ 8 h 64"/>
                <a:gd name="T8" fmla="*/ 35 w 54"/>
                <a:gd name="T9" fmla="*/ 32 h 64"/>
                <a:gd name="T10" fmla="*/ 38 w 54"/>
                <a:gd name="T11" fmla="*/ 36 h 64"/>
                <a:gd name="T12" fmla="*/ 53 w 54"/>
                <a:gd name="T13" fmla="*/ 62 h 64"/>
                <a:gd name="T14" fmla="*/ 54 w 54"/>
                <a:gd name="T15" fmla="*/ 64 h 64"/>
                <a:gd name="T16" fmla="*/ 53 w 54"/>
                <a:gd name="T17" fmla="*/ 62 h 64"/>
                <a:gd name="T18" fmla="*/ 10 w 54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64">
                  <a:moveTo>
                    <a:pt x="10" y="8"/>
                  </a:moveTo>
                  <a:cubicBezTo>
                    <a:pt x="8" y="6"/>
                    <a:pt x="3" y="2"/>
                    <a:pt x="0" y="0"/>
                  </a:cubicBezTo>
                  <a:cubicBezTo>
                    <a:pt x="3" y="2"/>
                    <a:pt x="6" y="4"/>
                    <a:pt x="9" y="6"/>
                  </a:cubicBezTo>
                  <a:cubicBezTo>
                    <a:pt x="9" y="7"/>
                    <a:pt x="10" y="7"/>
                    <a:pt x="11" y="8"/>
                  </a:cubicBezTo>
                  <a:cubicBezTo>
                    <a:pt x="17" y="13"/>
                    <a:pt x="26" y="21"/>
                    <a:pt x="35" y="32"/>
                  </a:cubicBezTo>
                  <a:cubicBezTo>
                    <a:pt x="36" y="33"/>
                    <a:pt x="37" y="35"/>
                    <a:pt x="38" y="36"/>
                  </a:cubicBezTo>
                  <a:cubicBezTo>
                    <a:pt x="45" y="45"/>
                    <a:pt x="49" y="52"/>
                    <a:pt x="53" y="62"/>
                  </a:cubicBezTo>
                  <a:cubicBezTo>
                    <a:pt x="54" y="63"/>
                    <a:pt x="54" y="64"/>
                    <a:pt x="54" y="64"/>
                  </a:cubicBezTo>
                  <a:cubicBezTo>
                    <a:pt x="54" y="64"/>
                    <a:pt x="54" y="63"/>
                    <a:pt x="53" y="62"/>
                  </a:cubicBezTo>
                  <a:cubicBezTo>
                    <a:pt x="42" y="41"/>
                    <a:pt x="29" y="24"/>
                    <a:pt x="10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6" name="Freeform 423">
              <a:extLst>
                <a:ext uri="{FF2B5EF4-FFF2-40B4-BE49-F238E27FC236}">
                  <a16:creationId xmlns:a16="http://schemas.microsoft.com/office/drawing/2014/main" id="{3DE82AC4-0E86-467C-A42A-C899057B3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238" y="1970088"/>
              <a:ext cx="23813" cy="42863"/>
            </a:xfrm>
            <a:custGeom>
              <a:avLst/>
              <a:gdLst>
                <a:gd name="T0" fmla="*/ 1 w 9"/>
                <a:gd name="T1" fmla="*/ 3 h 16"/>
                <a:gd name="T2" fmla="*/ 0 w 9"/>
                <a:gd name="T3" fmla="*/ 0 h 16"/>
                <a:gd name="T4" fmla="*/ 1 w 9"/>
                <a:gd name="T5" fmla="*/ 1 h 16"/>
                <a:gd name="T6" fmla="*/ 9 w 9"/>
                <a:gd name="T7" fmla="*/ 16 h 16"/>
                <a:gd name="T8" fmla="*/ 1 w 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1" y="3"/>
                  </a:moveTo>
                  <a:cubicBezTo>
                    <a:pt x="0" y="1"/>
                    <a:pt x="1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3" y="7"/>
                    <a:pt x="6" y="11"/>
                    <a:pt x="9" y="16"/>
                  </a:cubicBezTo>
                  <a:cubicBezTo>
                    <a:pt x="8" y="14"/>
                    <a:pt x="3" y="10"/>
                    <a:pt x="1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7" name="Freeform 424">
              <a:extLst>
                <a:ext uri="{FF2B5EF4-FFF2-40B4-BE49-F238E27FC236}">
                  <a16:creationId xmlns:a16="http://schemas.microsoft.com/office/drawing/2014/main" id="{336E9B61-0D98-41AF-89CD-E2B90F98F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8413" y="1970088"/>
              <a:ext cx="23813" cy="36513"/>
            </a:xfrm>
            <a:custGeom>
              <a:avLst/>
              <a:gdLst>
                <a:gd name="T0" fmla="*/ 3 w 9"/>
                <a:gd name="T1" fmla="*/ 7 h 14"/>
                <a:gd name="T2" fmla="*/ 0 w 9"/>
                <a:gd name="T3" fmla="*/ 0 h 14"/>
                <a:gd name="T4" fmla="*/ 9 w 9"/>
                <a:gd name="T5" fmla="*/ 14 h 14"/>
                <a:gd name="T6" fmla="*/ 3 w 9"/>
                <a:gd name="T7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4">
                  <a:moveTo>
                    <a:pt x="3" y="7"/>
                  </a:moveTo>
                  <a:cubicBezTo>
                    <a:pt x="1" y="3"/>
                    <a:pt x="0" y="0"/>
                    <a:pt x="0" y="0"/>
                  </a:cubicBezTo>
                  <a:cubicBezTo>
                    <a:pt x="3" y="5"/>
                    <a:pt x="4" y="8"/>
                    <a:pt x="9" y="14"/>
                  </a:cubicBezTo>
                  <a:cubicBezTo>
                    <a:pt x="8" y="14"/>
                    <a:pt x="6" y="12"/>
                    <a:pt x="3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8" name="Freeform 425">
              <a:extLst>
                <a:ext uri="{FF2B5EF4-FFF2-40B4-BE49-F238E27FC236}">
                  <a16:creationId xmlns:a16="http://schemas.microsoft.com/office/drawing/2014/main" id="{4A2BB20C-265D-4F60-87E5-6160FAAC5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1588" y="1966913"/>
              <a:ext cx="9525" cy="22225"/>
            </a:xfrm>
            <a:custGeom>
              <a:avLst/>
              <a:gdLst>
                <a:gd name="T0" fmla="*/ 4 w 4"/>
                <a:gd name="T1" fmla="*/ 8 h 8"/>
                <a:gd name="T2" fmla="*/ 0 w 4"/>
                <a:gd name="T3" fmla="*/ 0 h 8"/>
                <a:gd name="T4" fmla="*/ 4 w 4"/>
                <a:gd name="T5" fmla="*/ 8 h 8"/>
                <a:gd name="T6" fmla="*/ 4 w 4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8"/>
                  </a:moveTo>
                  <a:cubicBezTo>
                    <a:pt x="1" y="3"/>
                    <a:pt x="0" y="0"/>
                    <a:pt x="0" y="0"/>
                  </a:cubicBezTo>
                  <a:cubicBezTo>
                    <a:pt x="1" y="3"/>
                    <a:pt x="2" y="5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9" name="Freeform 426">
              <a:extLst>
                <a:ext uri="{FF2B5EF4-FFF2-40B4-BE49-F238E27FC236}">
                  <a16:creationId xmlns:a16="http://schemas.microsoft.com/office/drawing/2014/main" id="{6860A583-F720-4C2F-8C0E-79BFE25D0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3175" y="1966913"/>
              <a:ext cx="6350" cy="14288"/>
            </a:xfrm>
            <a:custGeom>
              <a:avLst/>
              <a:gdLst>
                <a:gd name="T0" fmla="*/ 2 w 2"/>
                <a:gd name="T1" fmla="*/ 5 h 5"/>
                <a:gd name="T2" fmla="*/ 1 w 2"/>
                <a:gd name="T3" fmla="*/ 3 h 5"/>
                <a:gd name="T4" fmla="*/ 0 w 2"/>
                <a:gd name="T5" fmla="*/ 0 h 5"/>
                <a:gd name="T6" fmla="*/ 1 w 2"/>
                <a:gd name="T7" fmla="*/ 2 h 5"/>
                <a:gd name="T8" fmla="*/ 2 w 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2" y="5"/>
                    <a:pt x="2" y="4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1" y="2"/>
                  </a:cubicBezTo>
                  <a:cubicBezTo>
                    <a:pt x="2" y="4"/>
                    <a:pt x="2" y="5"/>
                    <a:pt x="2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0" name="Freeform 427">
              <a:extLst>
                <a:ext uri="{FF2B5EF4-FFF2-40B4-BE49-F238E27FC236}">
                  <a16:creationId xmlns:a16="http://schemas.microsoft.com/office/drawing/2014/main" id="{4ECADA7A-EEE7-4D8A-8302-020E0BB5E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0" y="1936751"/>
              <a:ext cx="36513" cy="33338"/>
            </a:xfrm>
            <a:custGeom>
              <a:avLst/>
              <a:gdLst>
                <a:gd name="T0" fmla="*/ 0 w 14"/>
                <a:gd name="T1" fmla="*/ 13 h 13"/>
                <a:gd name="T2" fmla="*/ 10 w 14"/>
                <a:gd name="T3" fmla="*/ 4 h 13"/>
                <a:gd name="T4" fmla="*/ 8 w 14"/>
                <a:gd name="T5" fmla="*/ 0 h 13"/>
                <a:gd name="T6" fmla="*/ 8 w 14"/>
                <a:gd name="T7" fmla="*/ 0 h 13"/>
                <a:gd name="T8" fmla="*/ 9 w 14"/>
                <a:gd name="T9" fmla="*/ 0 h 13"/>
                <a:gd name="T10" fmla="*/ 0 w 14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0" y="13"/>
                  </a:moveTo>
                  <a:cubicBezTo>
                    <a:pt x="0" y="13"/>
                    <a:pt x="10" y="9"/>
                    <a:pt x="10" y="4"/>
                  </a:cubicBezTo>
                  <a:cubicBezTo>
                    <a:pt x="10" y="2"/>
                    <a:pt x="9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14" y="5"/>
                    <a:pt x="7" y="12"/>
                    <a:pt x="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1" name="Freeform 428">
              <a:extLst>
                <a:ext uri="{FF2B5EF4-FFF2-40B4-BE49-F238E27FC236}">
                  <a16:creationId xmlns:a16="http://schemas.microsoft.com/office/drawing/2014/main" id="{DADB20EC-0E87-4072-8940-6859A4EDD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7925" y="1912938"/>
              <a:ext cx="7938" cy="4763"/>
            </a:xfrm>
            <a:custGeom>
              <a:avLst/>
              <a:gdLst>
                <a:gd name="T0" fmla="*/ 0 w 3"/>
                <a:gd name="T1" fmla="*/ 2 h 2"/>
                <a:gd name="T2" fmla="*/ 2 w 3"/>
                <a:gd name="T3" fmla="*/ 1 h 2"/>
                <a:gd name="T4" fmla="*/ 3 w 3"/>
                <a:gd name="T5" fmla="*/ 1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0" y="2"/>
                    <a:pt x="0" y="0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2" name="Freeform 429">
              <a:extLst>
                <a:ext uri="{FF2B5EF4-FFF2-40B4-BE49-F238E27FC236}">
                  <a16:creationId xmlns:a16="http://schemas.microsoft.com/office/drawing/2014/main" id="{4146B049-3766-4837-ACFD-D6DC7FFEDF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9988" y="1898651"/>
              <a:ext cx="360363" cy="322263"/>
            </a:xfrm>
            <a:custGeom>
              <a:avLst/>
              <a:gdLst>
                <a:gd name="T0" fmla="*/ 101 w 136"/>
                <a:gd name="T1" fmla="*/ 87 h 122"/>
                <a:gd name="T2" fmla="*/ 98 w 136"/>
                <a:gd name="T3" fmla="*/ 83 h 122"/>
                <a:gd name="T4" fmla="*/ 96 w 136"/>
                <a:gd name="T5" fmla="*/ 74 h 122"/>
                <a:gd name="T6" fmla="*/ 90 w 136"/>
                <a:gd name="T7" fmla="*/ 67 h 122"/>
                <a:gd name="T8" fmla="*/ 60 w 136"/>
                <a:gd name="T9" fmla="*/ 26 h 122"/>
                <a:gd name="T10" fmla="*/ 3 w 136"/>
                <a:gd name="T11" fmla="*/ 10 h 122"/>
                <a:gd name="T12" fmla="*/ 40 w 136"/>
                <a:gd name="T13" fmla="*/ 67 h 122"/>
                <a:gd name="T14" fmla="*/ 46 w 136"/>
                <a:gd name="T15" fmla="*/ 67 h 122"/>
                <a:gd name="T16" fmla="*/ 55 w 136"/>
                <a:gd name="T17" fmla="*/ 71 h 122"/>
                <a:gd name="T18" fmla="*/ 70 w 136"/>
                <a:gd name="T19" fmla="*/ 80 h 122"/>
                <a:gd name="T20" fmla="*/ 76 w 136"/>
                <a:gd name="T21" fmla="*/ 85 h 122"/>
                <a:gd name="T22" fmla="*/ 88 w 136"/>
                <a:gd name="T23" fmla="*/ 88 h 122"/>
                <a:gd name="T24" fmla="*/ 101 w 136"/>
                <a:gd name="T25" fmla="*/ 96 h 122"/>
                <a:gd name="T26" fmla="*/ 108 w 136"/>
                <a:gd name="T27" fmla="*/ 100 h 122"/>
                <a:gd name="T28" fmla="*/ 94 w 136"/>
                <a:gd name="T29" fmla="*/ 93 h 122"/>
                <a:gd name="T30" fmla="*/ 88 w 136"/>
                <a:gd name="T31" fmla="*/ 90 h 122"/>
                <a:gd name="T32" fmla="*/ 82 w 136"/>
                <a:gd name="T33" fmla="*/ 87 h 122"/>
                <a:gd name="T34" fmla="*/ 76 w 136"/>
                <a:gd name="T35" fmla="*/ 84 h 122"/>
                <a:gd name="T36" fmla="*/ 70 w 136"/>
                <a:gd name="T37" fmla="*/ 80 h 122"/>
                <a:gd name="T38" fmla="*/ 65 w 136"/>
                <a:gd name="T39" fmla="*/ 77 h 122"/>
                <a:gd name="T40" fmla="*/ 60 w 136"/>
                <a:gd name="T41" fmla="*/ 74 h 122"/>
                <a:gd name="T42" fmla="*/ 56 w 136"/>
                <a:gd name="T43" fmla="*/ 72 h 122"/>
                <a:gd name="T44" fmla="*/ 39 w 136"/>
                <a:gd name="T45" fmla="*/ 65 h 122"/>
                <a:gd name="T46" fmla="*/ 38 w 136"/>
                <a:gd name="T47" fmla="*/ 61 h 122"/>
                <a:gd name="T48" fmla="*/ 37 w 136"/>
                <a:gd name="T49" fmla="*/ 56 h 122"/>
                <a:gd name="T50" fmla="*/ 41 w 136"/>
                <a:gd name="T51" fmla="*/ 62 h 122"/>
                <a:gd name="T52" fmla="*/ 49 w 136"/>
                <a:gd name="T53" fmla="*/ 67 h 122"/>
                <a:gd name="T54" fmla="*/ 46 w 136"/>
                <a:gd name="T55" fmla="*/ 66 h 122"/>
                <a:gd name="T56" fmla="*/ 43 w 136"/>
                <a:gd name="T57" fmla="*/ 66 h 122"/>
                <a:gd name="T58" fmla="*/ 42 w 136"/>
                <a:gd name="T59" fmla="*/ 66 h 122"/>
                <a:gd name="T60" fmla="*/ 56 w 136"/>
                <a:gd name="T61" fmla="*/ 24 h 122"/>
                <a:gd name="T62" fmla="*/ 89 w 136"/>
                <a:gd name="T63" fmla="*/ 65 h 122"/>
                <a:gd name="T64" fmla="*/ 88 w 136"/>
                <a:gd name="T65" fmla="*/ 63 h 122"/>
                <a:gd name="T66" fmla="*/ 92 w 136"/>
                <a:gd name="T67" fmla="*/ 70 h 122"/>
                <a:gd name="T68" fmla="*/ 95 w 136"/>
                <a:gd name="T69" fmla="*/ 77 h 122"/>
                <a:gd name="T70" fmla="*/ 95 w 136"/>
                <a:gd name="T71" fmla="*/ 75 h 122"/>
                <a:gd name="T72" fmla="*/ 97 w 136"/>
                <a:gd name="T73" fmla="*/ 79 h 122"/>
                <a:gd name="T74" fmla="*/ 100 w 136"/>
                <a:gd name="T75" fmla="*/ 83 h 122"/>
                <a:gd name="T76" fmla="*/ 102 w 136"/>
                <a:gd name="T77" fmla="*/ 87 h 122"/>
                <a:gd name="T78" fmla="*/ 101 w 136"/>
                <a:gd name="T79" fmla="*/ 95 h 122"/>
                <a:gd name="T80" fmla="*/ 12 w 136"/>
                <a:gd name="T81" fmla="*/ 5 h 122"/>
                <a:gd name="T82" fmla="*/ 11 w 136"/>
                <a:gd name="T83" fmla="*/ 3 h 122"/>
                <a:gd name="T84" fmla="*/ 7 w 136"/>
                <a:gd name="T85" fmla="*/ 1 h 122"/>
                <a:gd name="T86" fmla="*/ 36 w 136"/>
                <a:gd name="T87" fmla="*/ 21 h 122"/>
                <a:gd name="T88" fmla="*/ 102 w 136"/>
                <a:gd name="T89" fmla="*/ 90 h 122"/>
                <a:gd name="T90" fmla="*/ 133 w 136"/>
                <a:gd name="T91" fmla="*/ 98 h 122"/>
                <a:gd name="T92" fmla="*/ 103 w 136"/>
                <a:gd name="T93" fmla="*/ 98 h 122"/>
                <a:gd name="T94" fmla="*/ 104 w 136"/>
                <a:gd name="T95" fmla="*/ 99 h 122"/>
                <a:gd name="T96" fmla="*/ 107 w 136"/>
                <a:gd name="T97" fmla="*/ 98 h 122"/>
                <a:gd name="T98" fmla="*/ 108 w 136"/>
                <a:gd name="T99" fmla="*/ 95 h 122"/>
                <a:gd name="T100" fmla="*/ 121 w 136"/>
                <a:gd name="T101" fmla="*/ 94 h 122"/>
                <a:gd name="T102" fmla="*/ 106 w 136"/>
                <a:gd name="T103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6" h="122">
                  <a:moveTo>
                    <a:pt x="136" y="99"/>
                  </a:moveTo>
                  <a:cubicBezTo>
                    <a:pt x="128" y="93"/>
                    <a:pt x="117" y="89"/>
                    <a:pt x="105" y="93"/>
                  </a:cubicBezTo>
                  <a:cubicBezTo>
                    <a:pt x="105" y="92"/>
                    <a:pt x="104" y="91"/>
                    <a:pt x="104" y="90"/>
                  </a:cubicBezTo>
                  <a:cubicBezTo>
                    <a:pt x="103" y="89"/>
                    <a:pt x="103" y="88"/>
                    <a:pt x="103" y="87"/>
                  </a:cubicBezTo>
                  <a:cubicBezTo>
                    <a:pt x="103" y="86"/>
                    <a:pt x="102" y="86"/>
                    <a:pt x="101" y="87"/>
                  </a:cubicBezTo>
                  <a:cubicBezTo>
                    <a:pt x="101" y="87"/>
                    <a:pt x="101" y="87"/>
                    <a:pt x="101" y="87"/>
                  </a:cubicBezTo>
                  <a:cubicBezTo>
                    <a:pt x="101" y="86"/>
                    <a:pt x="101" y="85"/>
                    <a:pt x="101" y="84"/>
                  </a:cubicBezTo>
                  <a:cubicBezTo>
                    <a:pt x="101" y="83"/>
                    <a:pt x="100" y="82"/>
                    <a:pt x="100" y="82"/>
                  </a:cubicBezTo>
                  <a:cubicBezTo>
                    <a:pt x="100" y="82"/>
                    <a:pt x="99" y="82"/>
                    <a:pt x="98" y="83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1"/>
                    <a:pt x="98" y="79"/>
                    <a:pt x="98" y="78"/>
                  </a:cubicBezTo>
                  <a:cubicBezTo>
                    <a:pt x="98" y="78"/>
                    <a:pt x="96" y="78"/>
                    <a:pt x="96" y="79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6" y="75"/>
                    <a:pt x="96" y="75"/>
                    <a:pt x="96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4"/>
                    <a:pt x="95" y="74"/>
                    <a:pt x="94" y="74"/>
                  </a:cubicBezTo>
                  <a:cubicBezTo>
                    <a:pt x="93" y="74"/>
                    <a:pt x="93" y="73"/>
                    <a:pt x="93" y="73"/>
                  </a:cubicBezTo>
                  <a:cubicBezTo>
                    <a:pt x="93" y="72"/>
                    <a:pt x="94" y="70"/>
                    <a:pt x="94" y="69"/>
                  </a:cubicBezTo>
                  <a:cubicBezTo>
                    <a:pt x="94" y="68"/>
                    <a:pt x="93" y="69"/>
                    <a:pt x="91" y="69"/>
                  </a:cubicBezTo>
                  <a:cubicBezTo>
                    <a:pt x="91" y="69"/>
                    <a:pt x="90" y="67"/>
                    <a:pt x="90" y="67"/>
                  </a:cubicBezTo>
                  <a:cubicBezTo>
                    <a:pt x="94" y="67"/>
                    <a:pt x="94" y="65"/>
                    <a:pt x="94" y="65"/>
                  </a:cubicBezTo>
                  <a:cubicBezTo>
                    <a:pt x="94" y="63"/>
                    <a:pt x="89" y="61"/>
                    <a:pt x="86" y="59"/>
                  </a:cubicBezTo>
                  <a:cubicBezTo>
                    <a:pt x="79" y="47"/>
                    <a:pt x="69" y="36"/>
                    <a:pt x="57" y="26"/>
                  </a:cubicBezTo>
                  <a:cubicBezTo>
                    <a:pt x="58" y="26"/>
                    <a:pt x="59" y="26"/>
                    <a:pt x="60" y="26"/>
                  </a:cubicBezTo>
                  <a:cubicBezTo>
                    <a:pt x="60" y="26"/>
                    <a:pt x="61" y="26"/>
                    <a:pt x="60" y="26"/>
                  </a:cubicBezTo>
                  <a:cubicBezTo>
                    <a:pt x="56" y="22"/>
                    <a:pt x="51" y="18"/>
                    <a:pt x="44" y="16"/>
                  </a:cubicBezTo>
                  <a:cubicBezTo>
                    <a:pt x="35" y="11"/>
                    <a:pt x="17" y="1"/>
                    <a:pt x="7" y="0"/>
                  </a:cubicBezTo>
                  <a:cubicBezTo>
                    <a:pt x="6" y="0"/>
                    <a:pt x="4" y="0"/>
                    <a:pt x="5" y="1"/>
                  </a:cubicBezTo>
                  <a:cubicBezTo>
                    <a:pt x="5" y="2"/>
                    <a:pt x="6" y="3"/>
                    <a:pt x="8" y="4"/>
                  </a:cubicBezTo>
                  <a:cubicBezTo>
                    <a:pt x="1" y="3"/>
                    <a:pt x="0" y="3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9" y="23"/>
                    <a:pt x="20" y="39"/>
                    <a:pt x="27" y="47"/>
                  </a:cubicBezTo>
                  <a:cubicBezTo>
                    <a:pt x="28" y="49"/>
                    <a:pt x="29" y="51"/>
                    <a:pt x="30" y="54"/>
                  </a:cubicBezTo>
                  <a:cubicBezTo>
                    <a:pt x="34" y="62"/>
                    <a:pt x="37" y="65"/>
                    <a:pt x="39" y="67"/>
                  </a:cubicBezTo>
                  <a:cubicBezTo>
                    <a:pt x="39" y="67"/>
                    <a:pt x="40" y="67"/>
                    <a:pt x="40" y="67"/>
                  </a:cubicBezTo>
                  <a:cubicBezTo>
                    <a:pt x="41" y="66"/>
                    <a:pt x="42" y="67"/>
                    <a:pt x="42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4" y="66"/>
                    <a:pt x="45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8" y="66"/>
                    <a:pt x="49" y="68"/>
                    <a:pt x="51" y="68"/>
                  </a:cubicBezTo>
                  <a:cubicBezTo>
                    <a:pt x="52" y="69"/>
                    <a:pt x="54" y="70"/>
                    <a:pt x="55" y="71"/>
                  </a:cubicBezTo>
                  <a:cubicBezTo>
                    <a:pt x="59" y="80"/>
                    <a:pt x="66" y="86"/>
                    <a:pt x="63" y="76"/>
                  </a:cubicBezTo>
                  <a:cubicBezTo>
                    <a:pt x="64" y="76"/>
                    <a:pt x="64" y="77"/>
                    <a:pt x="65" y="77"/>
                  </a:cubicBezTo>
                  <a:cubicBezTo>
                    <a:pt x="65" y="78"/>
                    <a:pt x="65" y="78"/>
                    <a:pt x="65" y="79"/>
                  </a:cubicBezTo>
                  <a:cubicBezTo>
                    <a:pt x="66" y="79"/>
                    <a:pt x="67" y="79"/>
                    <a:pt x="68" y="79"/>
                  </a:cubicBezTo>
                  <a:cubicBezTo>
                    <a:pt x="69" y="79"/>
                    <a:pt x="69" y="79"/>
                    <a:pt x="70" y="80"/>
                  </a:cubicBezTo>
                  <a:cubicBezTo>
                    <a:pt x="70" y="80"/>
                    <a:pt x="70" y="80"/>
                    <a:pt x="70" y="82"/>
                  </a:cubicBezTo>
                  <a:cubicBezTo>
                    <a:pt x="70" y="82"/>
                    <a:pt x="74" y="82"/>
                    <a:pt x="75" y="82"/>
                  </a:cubicBezTo>
                  <a:cubicBezTo>
                    <a:pt x="75" y="82"/>
                    <a:pt x="75" y="82"/>
                    <a:pt x="76" y="83"/>
                  </a:cubicBezTo>
                  <a:cubicBezTo>
                    <a:pt x="75" y="84"/>
                    <a:pt x="76" y="85"/>
                    <a:pt x="76" y="85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7" y="85"/>
                    <a:pt x="79" y="85"/>
                    <a:pt x="81" y="85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1" y="87"/>
                    <a:pt x="81" y="87"/>
                    <a:pt x="82" y="88"/>
                  </a:cubicBezTo>
                  <a:cubicBezTo>
                    <a:pt x="86" y="88"/>
                    <a:pt x="85" y="88"/>
                    <a:pt x="86" y="88"/>
                  </a:cubicBezTo>
                  <a:cubicBezTo>
                    <a:pt x="87" y="88"/>
                    <a:pt x="87" y="88"/>
                    <a:pt x="88" y="88"/>
                  </a:cubicBezTo>
                  <a:cubicBezTo>
                    <a:pt x="88" y="91"/>
                    <a:pt x="87" y="90"/>
                    <a:pt x="88" y="91"/>
                  </a:cubicBezTo>
                  <a:cubicBezTo>
                    <a:pt x="88" y="91"/>
                    <a:pt x="90" y="91"/>
                    <a:pt x="93" y="91"/>
                  </a:cubicBezTo>
                  <a:cubicBezTo>
                    <a:pt x="93" y="92"/>
                    <a:pt x="93" y="92"/>
                    <a:pt x="93" y="93"/>
                  </a:cubicBezTo>
                  <a:cubicBezTo>
                    <a:pt x="94" y="94"/>
                    <a:pt x="96" y="94"/>
                    <a:pt x="98" y="94"/>
                  </a:cubicBezTo>
                  <a:cubicBezTo>
                    <a:pt x="102" y="96"/>
                    <a:pt x="101" y="96"/>
                    <a:pt x="101" y="96"/>
                  </a:cubicBezTo>
                  <a:cubicBezTo>
                    <a:pt x="101" y="96"/>
                    <a:pt x="101" y="96"/>
                    <a:pt x="102" y="96"/>
                  </a:cubicBezTo>
                  <a:cubicBezTo>
                    <a:pt x="99" y="104"/>
                    <a:pt x="100" y="114"/>
                    <a:pt x="107" y="122"/>
                  </a:cubicBezTo>
                  <a:cubicBezTo>
                    <a:pt x="107" y="122"/>
                    <a:pt x="107" y="122"/>
                    <a:pt x="107" y="121"/>
                  </a:cubicBezTo>
                  <a:cubicBezTo>
                    <a:pt x="107" y="121"/>
                    <a:pt x="107" y="121"/>
                    <a:pt x="107" y="121"/>
                  </a:cubicBezTo>
                  <a:cubicBezTo>
                    <a:pt x="106" y="114"/>
                    <a:pt x="106" y="106"/>
                    <a:pt x="108" y="100"/>
                  </a:cubicBezTo>
                  <a:cubicBezTo>
                    <a:pt x="117" y="97"/>
                    <a:pt x="127" y="97"/>
                    <a:pt x="136" y="99"/>
                  </a:cubicBezTo>
                  <a:close/>
                  <a:moveTo>
                    <a:pt x="94" y="91"/>
                  </a:moveTo>
                  <a:cubicBezTo>
                    <a:pt x="95" y="92"/>
                    <a:pt x="96" y="92"/>
                    <a:pt x="96" y="93"/>
                  </a:cubicBezTo>
                  <a:cubicBezTo>
                    <a:pt x="96" y="93"/>
                    <a:pt x="94" y="93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4" y="92"/>
                    <a:pt x="94" y="91"/>
                    <a:pt x="94" y="91"/>
                  </a:cubicBezTo>
                  <a:close/>
                  <a:moveTo>
                    <a:pt x="88" y="88"/>
                  </a:moveTo>
                  <a:cubicBezTo>
                    <a:pt x="90" y="89"/>
                    <a:pt x="90" y="90"/>
                    <a:pt x="92" y="90"/>
                  </a:cubicBezTo>
                  <a:cubicBezTo>
                    <a:pt x="91" y="90"/>
                    <a:pt x="88" y="90"/>
                    <a:pt x="88" y="9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8" y="90"/>
                    <a:pt x="88" y="89"/>
                    <a:pt x="88" y="88"/>
                  </a:cubicBezTo>
                  <a:close/>
                  <a:moveTo>
                    <a:pt x="82" y="86"/>
                  </a:moveTo>
                  <a:cubicBezTo>
                    <a:pt x="83" y="86"/>
                    <a:pt x="84" y="86"/>
                    <a:pt x="85" y="87"/>
                  </a:cubicBezTo>
                  <a:cubicBezTo>
                    <a:pt x="83" y="87"/>
                    <a:pt x="82" y="87"/>
                    <a:pt x="82" y="87"/>
                  </a:cubicBezTo>
                  <a:cubicBezTo>
                    <a:pt x="82" y="86"/>
                    <a:pt x="82" y="86"/>
                    <a:pt x="82" y="86"/>
                  </a:cubicBezTo>
                  <a:close/>
                  <a:moveTo>
                    <a:pt x="76" y="83"/>
                  </a:moveTo>
                  <a:cubicBezTo>
                    <a:pt x="77" y="83"/>
                    <a:pt x="78" y="84"/>
                    <a:pt x="79" y="84"/>
                  </a:cubicBezTo>
                  <a:cubicBezTo>
                    <a:pt x="77" y="84"/>
                    <a:pt x="77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3"/>
                    <a:pt x="76" y="83"/>
                  </a:cubicBezTo>
                  <a:close/>
                  <a:moveTo>
                    <a:pt x="70" y="80"/>
                  </a:moveTo>
                  <a:cubicBezTo>
                    <a:pt x="70" y="80"/>
                    <a:pt x="72" y="81"/>
                    <a:pt x="73" y="81"/>
                  </a:cubicBezTo>
                  <a:cubicBezTo>
                    <a:pt x="72" y="81"/>
                    <a:pt x="70" y="81"/>
                    <a:pt x="70" y="81"/>
                  </a:cubicBezTo>
                  <a:cubicBezTo>
                    <a:pt x="70" y="81"/>
                    <a:pt x="70" y="80"/>
                    <a:pt x="70" y="80"/>
                  </a:cubicBezTo>
                  <a:close/>
                  <a:moveTo>
                    <a:pt x="65" y="77"/>
                  </a:moveTo>
                  <a:cubicBezTo>
                    <a:pt x="66" y="78"/>
                    <a:pt x="66" y="78"/>
                    <a:pt x="67" y="78"/>
                  </a:cubicBezTo>
                  <a:cubicBezTo>
                    <a:pt x="67" y="78"/>
                    <a:pt x="67" y="78"/>
                    <a:pt x="65" y="78"/>
                  </a:cubicBezTo>
                  <a:cubicBezTo>
                    <a:pt x="65" y="78"/>
                    <a:pt x="65" y="78"/>
                    <a:pt x="65" y="78"/>
                  </a:cubicBezTo>
                  <a:cubicBezTo>
                    <a:pt x="65" y="78"/>
                    <a:pt x="65" y="77"/>
                    <a:pt x="65" y="77"/>
                  </a:cubicBezTo>
                  <a:close/>
                  <a:moveTo>
                    <a:pt x="56" y="72"/>
                  </a:moveTo>
                  <a:cubicBezTo>
                    <a:pt x="57" y="72"/>
                    <a:pt x="57" y="72"/>
                    <a:pt x="57" y="72"/>
                  </a:cubicBezTo>
                  <a:cubicBezTo>
                    <a:pt x="59" y="76"/>
                    <a:pt x="61" y="78"/>
                    <a:pt x="61" y="78"/>
                  </a:cubicBezTo>
                  <a:cubicBezTo>
                    <a:pt x="59" y="75"/>
                    <a:pt x="58" y="73"/>
                    <a:pt x="58" y="73"/>
                  </a:cubicBezTo>
                  <a:cubicBezTo>
                    <a:pt x="59" y="73"/>
                    <a:pt x="59" y="74"/>
                    <a:pt x="60" y="74"/>
                  </a:cubicBezTo>
                  <a:cubicBezTo>
                    <a:pt x="61" y="77"/>
                    <a:pt x="62" y="78"/>
                    <a:pt x="62" y="78"/>
                  </a:cubicBezTo>
                  <a:cubicBezTo>
                    <a:pt x="62" y="78"/>
                    <a:pt x="62" y="77"/>
                    <a:pt x="60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6"/>
                    <a:pt x="62" y="77"/>
                    <a:pt x="63" y="78"/>
                  </a:cubicBezTo>
                  <a:cubicBezTo>
                    <a:pt x="65" y="85"/>
                    <a:pt x="57" y="74"/>
                    <a:pt x="56" y="72"/>
                  </a:cubicBezTo>
                  <a:close/>
                  <a:moveTo>
                    <a:pt x="29" y="49"/>
                  </a:moveTo>
                  <a:cubicBezTo>
                    <a:pt x="30" y="50"/>
                    <a:pt x="31" y="51"/>
                    <a:pt x="32" y="51"/>
                  </a:cubicBezTo>
                  <a:cubicBezTo>
                    <a:pt x="33" y="55"/>
                    <a:pt x="35" y="58"/>
                    <a:pt x="36" y="61"/>
                  </a:cubicBezTo>
                  <a:cubicBezTo>
                    <a:pt x="37" y="62"/>
                    <a:pt x="38" y="63"/>
                    <a:pt x="38" y="64"/>
                  </a:cubicBezTo>
                  <a:cubicBezTo>
                    <a:pt x="38" y="64"/>
                    <a:pt x="39" y="65"/>
                    <a:pt x="39" y="65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38" y="63"/>
                    <a:pt x="37" y="62"/>
                    <a:pt x="36" y="60"/>
                  </a:cubicBezTo>
                  <a:cubicBezTo>
                    <a:pt x="35" y="58"/>
                    <a:pt x="34" y="56"/>
                    <a:pt x="33" y="53"/>
                  </a:cubicBezTo>
                  <a:cubicBezTo>
                    <a:pt x="34" y="54"/>
                    <a:pt x="35" y="54"/>
                    <a:pt x="35" y="55"/>
                  </a:cubicBezTo>
                  <a:cubicBezTo>
                    <a:pt x="36" y="58"/>
                    <a:pt x="37" y="60"/>
                    <a:pt x="38" y="61"/>
                  </a:cubicBezTo>
                  <a:cubicBezTo>
                    <a:pt x="39" y="62"/>
                    <a:pt x="39" y="63"/>
                    <a:pt x="40" y="64"/>
                  </a:cubicBezTo>
                  <a:cubicBezTo>
                    <a:pt x="40" y="64"/>
                    <a:pt x="40" y="65"/>
                    <a:pt x="40" y="65"/>
                  </a:cubicBezTo>
                  <a:cubicBezTo>
                    <a:pt x="40" y="65"/>
                    <a:pt x="40" y="64"/>
                    <a:pt x="40" y="64"/>
                  </a:cubicBezTo>
                  <a:cubicBezTo>
                    <a:pt x="40" y="63"/>
                    <a:pt x="39" y="62"/>
                    <a:pt x="39" y="61"/>
                  </a:cubicBezTo>
                  <a:cubicBezTo>
                    <a:pt x="38" y="60"/>
                    <a:pt x="37" y="58"/>
                    <a:pt x="37" y="56"/>
                  </a:cubicBezTo>
                  <a:cubicBezTo>
                    <a:pt x="37" y="57"/>
                    <a:pt x="38" y="58"/>
                    <a:pt x="39" y="58"/>
                  </a:cubicBezTo>
                  <a:cubicBezTo>
                    <a:pt x="39" y="60"/>
                    <a:pt x="40" y="61"/>
                    <a:pt x="41" y="62"/>
                  </a:cubicBezTo>
                  <a:cubicBezTo>
                    <a:pt x="41" y="63"/>
                    <a:pt x="41" y="64"/>
                    <a:pt x="42" y="64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2" y="64"/>
                    <a:pt x="41" y="62"/>
                  </a:cubicBezTo>
                  <a:cubicBezTo>
                    <a:pt x="41" y="61"/>
                    <a:pt x="40" y="60"/>
                    <a:pt x="40" y="59"/>
                  </a:cubicBezTo>
                  <a:cubicBezTo>
                    <a:pt x="41" y="60"/>
                    <a:pt x="42" y="61"/>
                    <a:pt x="43" y="62"/>
                  </a:cubicBezTo>
                  <a:cubicBezTo>
                    <a:pt x="43" y="63"/>
                    <a:pt x="44" y="64"/>
                    <a:pt x="44" y="64"/>
                  </a:cubicBezTo>
                  <a:cubicBezTo>
                    <a:pt x="44" y="64"/>
                    <a:pt x="44" y="64"/>
                    <a:pt x="43" y="62"/>
                  </a:cubicBezTo>
                  <a:cubicBezTo>
                    <a:pt x="45" y="64"/>
                    <a:pt x="47" y="65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8" y="66"/>
                    <a:pt x="47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4" y="65"/>
                    <a:pt x="43" y="65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1" y="65"/>
                    <a:pt x="39" y="66"/>
                    <a:pt x="39" y="66"/>
                  </a:cubicBezTo>
                  <a:cubicBezTo>
                    <a:pt x="39" y="66"/>
                    <a:pt x="39" y="66"/>
                    <a:pt x="39" y="66"/>
                  </a:cubicBezTo>
                  <a:cubicBezTo>
                    <a:pt x="37" y="63"/>
                    <a:pt x="34" y="60"/>
                    <a:pt x="29" y="49"/>
                  </a:cubicBezTo>
                  <a:close/>
                  <a:moveTo>
                    <a:pt x="59" y="26"/>
                  </a:moveTo>
                  <a:cubicBezTo>
                    <a:pt x="59" y="26"/>
                    <a:pt x="56" y="25"/>
                    <a:pt x="56" y="24"/>
                  </a:cubicBezTo>
                  <a:cubicBezTo>
                    <a:pt x="53" y="22"/>
                    <a:pt x="47" y="18"/>
                    <a:pt x="47" y="18"/>
                  </a:cubicBezTo>
                  <a:cubicBezTo>
                    <a:pt x="49" y="19"/>
                    <a:pt x="55" y="21"/>
                    <a:pt x="59" y="25"/>
                  </a:cubicBezTo>
                  <a:cubicBezTo>
                    <a:pt x="59" y="25"/>
                    <a:pt x="59" y="25"/>
                    <a:pt x="59" y="26"/>
                  </a:cubicBezTo>
                  <a:close/>
                  <a:moveTo>
                    <a:pt x="90" y="66"/>
                  </a:moveTo>
                  <a:cubicBezTo>
                    <a:pt x="89" y="66"/>
                    <a:pt x="89" y="65"/>
                    <a:pt x="89" y="65"/>
                  </a:cubicBezTo>
                  <a:cubicBezTo>
                    <a:pt x="91" y="65"/>
                    <a:pt x="92" y="65"/>
                    <a:pt x="92" y="65"/>
                  </a:cubicBezTo>
                  <a:cubicBezTo>
                    <a:pt x="91" y="65"/>
                    <a:pt x="94" y="65"/>
                    <a:pt x="89" y="64"/>
                  </a:cubicBezTo>
                  <a:cubicBezTo>
                    <a:pt x="89" y="64"/>
                    <a:pt x="88" y="64"/>
                    <a:pt x="88" y="63"/>
                  </a:cubicBezTo>
                  <a:cubicBezTo>
                    <a:pt x="91" y="64"/>
                    <a:pt x="92" y="64"/>
                    <a:pt x="92" y="64"/>
                  </a:cubicBezTo>
                  <a:cubicBezTo>
                    <a:pt x="85" y="62"/>
                    <a:pt x="89" y="63"/>
                    <a:pt x="88" y="63"/>
                  </a:cubicBezTo>
                  <a:cubicBezTo>
                    <a:pt x="88" y="62"/>
                    <a:pt x="87" y="62"/>
                    <a:pt x="87" y="61"/>
                  </a:cubicBezTo>
                  <a:cubicBezTo>
                    <a:pt x="88" y="62"/>
                    <a:pt x="92" y="63"/>
                    <a:pt x="93" y="65"/>
                  </a:cubicBezTo>
                  <a:cubicBezTo>
                    <a:pt x="94" y="66"/>
                    <a:pt x="91" y="66"/>
                    <a:pt x="90" y="66"/>
                  </a:cubicBezTo>
                  <a:close/>
                  <a:moveTo>
                    <a:pt x="92" y="72"/>
                  </a:moveTo>
                  <a:cubicBezTo>
                    <a:pt x="92" y="71"/>
                    <a:pt x="92" y="70"/>
                    <a:pt x="92" y="70"/>
                  </a:cubicBezTo>
                  <a:cubicBezTo>
                    <a:pt x="92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1"/>
                    <a:pt x="92" y="72"/>
                  </a:cubicBezTo>
                  <a:close/>
                  <a:moveTo>
                    <a:pt x="95" y="77"/>
                  </a:moveTo>
                  <a:cubicBezTo>
                    <a:pt x="95" y="76"/>
                    <a:pt x="94" y="75"/>
                    <a:pt x="94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6"/>
                    <a:pt x="95" y="77"/>
                  </a:cubicBezTo>
                  <a:close/>
                  <a:moveTo>
                    <a:pt x="98" y="81"/>
                  </a:moveTo>
                  <a:cubicBezTo>
                    <a:pt x="97" y="80"/>
                    <a:pt x="97" y="80"/>
                    <a:pt x="96" y="79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79"/>
                    <a:pt x="97" y="81"/>
                    <a:pt x="98" y="81"/>
                  </a:cubicBezTo>
                  <a:close/>
                  <a:moveTo>
                    <a:pt x="100" y="86"/>
                  </a:moveTo>
                  <a:cubicBezTo>
                    <a:pt x="100" y="85"/>
                    <a:pt x="99" y="84"/>
                    <a:pt x="99" y="83"/>
                  </a:cubicBezTo>
                  <a:cubicBezTo>
                    <a:pt x="99" y="83"/>
                    <a:pt x="100" y="83"/>
                    <a:pt x="100" y="83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100" y="83"/>
                    <a:pt x="100" y="85"/>
                    <a:pt x="100" y="86"/>
                  </a:cubicBezTo>
                  <a:close/>
                  <a:moveTo>
                    <a:pt x="103" y="89"/>
                  </a:moveTo>
                  <a:cubicBezTo>
                    <a:pt x="102" y="88"/>
                    <a:pt x="102" y="88"/>
                    <a:pt x="102" y="87"/>
                  </a:cubicBezTo>
                  <a:cubicBezTo>
                    <a:pt x="102" y="87"/>
                    <a:pt x="102" y="87"/>
                    <a:pt x="103" y="89"/>
                  </a:cubicBezTo>
                  <a:close/>
                  <a:moveTo>
                    <a:pt x="105" y="94"/>
                  </a:moveTo>
                  <a:cubicBezTo>
                    <a:pt x="106" y="95"/>
                    <a:pt x="107" y="96"/>
                    <a:pt x="107" y="97"/>
                  </a:cubicBezTo>
                  <a:cubicBezTo>
                    <a:pt x="106" y="98"/>
                    <a:pt x="105" y="98"/>
                    <a:pt x="104" y="98"/>
                  </a:cubicBezTo>
                  <a:cubicBezTo>
                    <a:pt x="103" y="97"/>
                    <a:pt x="102" y="96"/>
                    <a:pt x="101" y="95"/>
                  </a:cubicBezTo>
                  <a:cubicBezTo>
                    <a:pt x="100" y="94"/>
                    <a:pt x="98" y="93"/>
                    <a:pt x="96" y="92"/>
                  </a:cubicBezTo>
                  <a:cubicBezTo>
                    <a:pt x="81" y="83"/>
                    <a:pt x="58" y="77"/>
                    <a:pt x="35" y="53"/>
                  </a:cubicBezTo>
                  <a:cubicBezTo>
                    <a:pt x="19" y="37"/>
                    <a:pt x="7" y="17"/>
                    <a:pt x="3" y="7"/>
                  </a:cubicBezTo>
                  <a:cubicBezTo>
                    <a:pt x="2" y="5"/>
                    <a:pt x="2" y="5"/>
                    <a:pt x="4" y="4"/>
                  </a:cubicBezTo>
                  <a:cubicBezTo>
                    <a:pt x="4" y="4"/>
                    <a:pt x="11" y="5"/>
                    <a:pt x="12" y="5"/>
                  </a:cubicBezTo>
                  <a:cubicBezTo>
                    <a:pt x="13" y="5"/>
                    <a:pt x="14" y="6"/>
                    <a:pt x="14" y="7"/>
                  </a:cubicBezTo>
                  <a:cubicBezTo>
                    <a:pt x="14" y="9"/>
                    <a:pt x="9" y="7"/>
                    <a:pt x="7" y="6"/>
                  </a:cubicBezTo>
                  <a:cubicBezTo>
                    <a:pt x="9" y="7"/>
                    <a:pt x="12" y="9"/>
                    <a:pt x="14" y="8"/>
                  </a:cubicBezTo>
                  <a:cubicBezTo>
                    <a:pt x="16" y="8"/>
                    <a:pt x="15" y="6"/>
                    <a:pt x="14" y="5"/>
                  </a:cubicBezTo>
                  <a:cubicBezTo>
                    <a:pt x="13" y="4"/>
                    <a:pt x="12" y="4"/>
                    <a:pt x="11" y="3"/>
                  </a:cubicBezTo>
                  <a:cubicBezTo>
                    <a:pt x="10" y="3"/>
                    <a:pt x="8" y="3"/>
                    <a:pt x="7" y="2"/>
                  </a:cubicBezTo>
                  <a:cubicBezTo>
                    <a:pt x="7" y="2"/>
                    <a:pt x="9" y="3"/>
                    <a:pt x="11" y="4"/>
                  </a:cubicBezTo>
                  <a:cubicBezTo>
                    <a:pt x="9" y="4"/>
                    <a:pt x="7" y="3"/>
                    <a:pt x="6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9" y="1"/>
                    <a:pt x="11" y="2"/>
                    <a:pt x="13" y="3"/>
                  </a:cubicBezTo>
                  <a:cubicBezTo>
                    <a:pt x="18" y="4"/>
                    <a:pt x="24" y="6"/>
                    <a:pt x="29" y="9"/>
                  </a:cubicBezTo>
                  <a:cubicBezTo>
                    <a:pt x="31" y="10"/>
                    <a:pt x="35" y="14"/>
                    <a:pt x="36" y="17"/>
                  </a:cubicBezTo>
                  <a:cubicBezTo>
                    <a:pt x="37" y="22"/>
                    <a:pt x="29" y="26"/>
                    <a:pt x="22" y="28"/>
                  </a:cubicBezTo>
                  <a:cubicBezTo>
                    <a:pt x="26" y="28"/>
                    <a:pt x="32" y="26"/>
                    <a:pt x="36" y="21"/>
                  </a:cubicBezTo>
                  <a:cubicBezTo>
                    <a:pt x="38" y="18"/>
                    <a:pt x="36" y="14"/>
                    <a:pt x="33" y="11"/>
                  </a:cubicBezTo>
                  <a:cubicBezTo>
                    <a:pt x="53" y="23"/>
                    <a:pt x="70" y="35"/>
                    <a:pt x="86" y="62"/>
                  </a:cubicBezTo>
                  <a:cubicBezTo>
                    <a:pt x="88" y="65"/>
                    <a:pt x="90" y="69"/>
                    <a:pt x="92" y="73"/>
                  </a:cubicBezTo>
                  <a:cubicBezTo>
                    <a:pt x="94" y="76"/>
                    <a:pt x="95" y="79"/>
                    <a:pt x="97" y="82"/>
                  </a:cubicBezTo>
                  <a:cubicBezTo>
                    <a:pt x="99" y="85"/>
                    <a:pt x="100" y="87"/>
                    <a:pt x="102" y="90"/>
                  </a:cubicBezTo>
                  <a:cubicBezTo>
                    <a:pt x="103" y="91"/>
                    <a:pt x="103" y="91"/>
                    <a:pt x="104" y="92"/>
                  </a:cubicBezTo>
                  <a:cubicBezTo>
                    <a:pt x="104" y="93"/>
                    <a:pt x="104" y="93"/>
                    <a:pt x="105" y="93"/>
                  </a:cubicBezTo>
                  <a:cubicBezTo>
                    <a:pt x="105" y="94"/>
                    <a:pt x="105" y="94"/>
                    <a:pt x="105" y="94"/>
                  </a:cubicBezTo>
                  <a:close/>
                  <a:moveTo>
                    <a:pt x="119" y="93"/>
                  </a:moveTo>
                  <a:cubicBezTo>
                    <a:pt x="123" y="93"/>
                    <a:pt x="132" y="97"/>
                    <a:pt x="133" y="98"/>
                  </a:cubicBezTo>
                  <a:cubicBezTo>
                    <a:pt x="127" y="96"/>
                    <a:pt x="114" y="96"/>
                    <a:pt x="108" y="99"/>
                  </a:cubicBezTo>
                  <a:cubicBezTo>
                    <a:pt x="106" y="104"/>
                    <a:pt x="104" y="111"/>
                    <a:pt x="105" y="119"/>
                  </a:cubicBezTo>
                  <a:cubicBezTo>
                    <a:pt x="102" y="112"/>
                    <a:pt x="100" y="105"/>
                    <a:pt x="102" y="97"/>
                  </a:cubicBezTo>
                  <a:cubicBezTo>
                    <a:pt x="102" y="97"/>
                    <a:pt x="102" y="97"/>
                    <a:pt x="103" y="97"/>
                  </a:cubicBezTo>
                  <a:cubicBezTo>
                    <a:pt x="103" y="98"/>
                    <a:pt x="103" y="98"/>
                    <a:pt x="103" y="98"/>
                  </a:cubicBezTo>
                  <a:cubicBezTo>
                    <a:pt x="103" y="98"/>
                    <a:pt x="103" y="98"/>
                    <a:pt x="103" y="98"/>
                  </a:cubicBezTo>
                  <a:cubicBezTo>
                    <a:pt x="103" y="98"/>
                    <a:pt x="102" y="101"/>
                    <a:pt x="102" y="106"/>
                  </a:cubicBezTo>
                  <a:cubicBezTo>
                    <a:pt x="102" y="111"/>
                    <a:pt x="104" y="114"/>
                    <a:pt x="104" y="114"/>
                  </a:cubicBezTo>
                  <a:cubicBezTo>
                    <a:pt x="103" y="110"/>
                    <a:pt x="103" y="108"/>
                    <a:pt x="103" y="106"/>
                  </a:cubicBezTo>
                  <a:cubicBezTo>
                    <a:pt x="103" y="104"/>
                    <a:pt x="104" y="99"/>
                    <a:pt x="104" y="99"/>
                  </a:cubicBezTo>
                  <a:cubicBezTo>
                    <a:pt x="104" y="99"/>
                    <a:pt x="104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3" y="107"/>
                    <a:pt x="104" y="113"/>
                    <a:pt x="104" y="113"/>
                  </a:cubicBezTo>
                  <a:cubicBezTo>
                    <a:pt x="104" y="107"/>
                    <a:pt x="105" y="100"/>
                    <a:pt x="106" y="99"/>
                  </a:cubicBezTo>
                  <a:cubicBezTo>
                    <a:pt x="106" y="99"/>
                    <a:pt x="107" y="98"/>
                    <a:pt x="107" y="98"/>
                  </a:cubicBezTo>
                  <a:cubicBezTo>
                    <a:pt x="107" y="98"/>
                    <a:pt x="107" y="98"/>
                    <a:pt x="107" y="98"/>
                  </a:cubicBezTo>
                  <a:cubicBezTo>
                    <a:pt x="114" y="96"/>
                    <a:pt x="115" y="96"/>
                    <a:pt x="124" y="96"/>
                  </a:cubicBezTo>
                  <a:cubicBezTo>
                    <a:pt x="123" y="96"/>
                    <a:pt x="118" y="94"/>
                    <a:pt x="108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08" y="96"/>
                    <a:pt x="108" y="95"/>
                    <a:pt x="108" y="95"/>
                  </a:cubicBezTo>
                  <a:cubicBezTo>
                    <a:pt x="109" y="95"/>
                    <a:pt x="118" y="94"/>
                    <a:pt x="122" y="95"/>
                  </a:cubicBezTo>
                  <a:cubicBezTo>
                    <a:pt x="123" y="95"/>
                    <a:pt x="124" y="95"/>
                    <a:pt x="125" y="95"/>
                  </a:cubicBezTo>
                  <a:cubicBezTo>
                    <a:pt x="125" y="95"/>
                    <a:pt x="126" y="96"/>
                    <a:pt x="127" y="96"/>
                  </a:cubicBezTo>
                  <a:cubicBezTo>
                    <a:pt x="127" y="96"/>
                    <a:pt x="126" y="95"/>
                    <a:pt x="125" y="95"/>
                  </a:cubicBezTo>
                  <a:cubicBezTo>
                    <a:pt x="124" y="95"/>
                    <a:pt x="123" y="94"/>
                    <a:pt x="121" y="94"/>
                  </a:cubicBezTo>
                  <a:cubicBezTo>
                    <a:pt x="119" y="94"/>
                    <a:pt x="117" y="94"/>
                    <a:pt x="114" y="94"/>
                  </a:cubicBezTo>
                  <a:cubicBezTo>
                    <a:pt x="113" y="94"/>
                    <a:pt x="112" y="94"/>
                    <a:pt x="111" y="94"/>
                  </a:cubicBezTo>
                  <a:cubicBezTo>
                    <a:pt x="110" y="94"/>
                    <a:pt x="109" y="94"/>
                    <a:pt x="108" y="94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11" y="92"/>
                    <a:pt x="116" y="92"/>
                    <a:pt x="119" y="9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3" name="Freeform 430">
              <a:extLst>
                <a:ext uri="{FF2B5EF4-FFF2-40B4-BE49-F238E27FC236}">
                  <a16:creationId xmlns:a16="http://schemas.microsoft.com/office/drawing/2014/main" id="{4AA5C440-98B1-4F53-9E29-D052826C5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1425" y="1993901"/>
              <a:ext cx="142875" cy="111125"/>
            </a:xfrm>
            <a:custGeom>
              <a:avLst/>
              <a:gdLst>
                <a:gd name="T0" fmla="*/ 47 w 54"/>
                <a:gd name="T1" fmla="*/ 39 h 42"/>
                <a:gd name="T2" fmla="*/ 38 w 54"/>
                <a:gd name="T3" fmla="*/ 33 h 42"/>
                <a:gd name="T4" fmla="*/ 24 w 54"/>
                <a:gd name="T5" fmla="*/ 23 h 42"/>
                <a:gd name="T6" fmla="*/ 11 w 54"/>
                <a:gd name="T7" fmla="*/ 12 h 42"/>
                <a:gd name="T8" fmla="*/ 8 w 54"/>
                <a:gd name="T9" fmla="*/ 9 h 42"/>
                <a:gd name="T10" fmla="*/ 7 w 54"/>
                <a:gd name="T11" fmla="*/ 7 h 42"/>
                <a:gd name="T12" fmla="*/ 4 w 54"/>
                <a:gd name="T13" fmla="*/ 4 h 42"/>
                <a:gd name="T14" fmla="*/ 2 w 54"/>
                <a:gd name="T15" fmla="*/ 2 h 42"/>
                <a:gd name="T16" fmla="*/ 0 w 54"/>
                <a:gd name="T17" fmla="*/ 1 h 42"/>
                <a:gd name="T18" fmla="*/ 0 w 54"/>
                <a:gd name="T19" fmla="*/ 0 h 42"/>
                <a:gd name="T20" fmla="*/ 1 w 54"/>
                <a:gd name="T21" fmla="*/ 1 h 42"/>
                <a:gd name="T22" fmla="*/ 4 w 54"/>
                <a:gd name="T23" fmla="*/ 5 h 42"/>
                <a:gd name="T24" fmla="*/ 24 w 54"/>
                <a:gd name="T25" fmla="*/ 22 h 42"/>
                <a:gd name="T26" fmla="*/ 38 w 54"/>
                <a:gd name="T27" fmla="*/ 33 h 42"/>
                <a:gd name="T28" fmla="*/ 47 w 54"/>
                <a:gd name="T29" fmla="*/ 39 h 42"/>
                <a:gd name="T30" fmla="*/ 52 w 54"/>
                <a:gd name="T31" fmla="*/ 42 h 42"/>
                <a:gd name="T32" fmla="*/ 54 w 54"/>
                <a:gd name="T33" fmla="*/ 42 h 42"/>
                <a:gd name="T34" fmla="*/ 52 w 54"/>
                <a:gd name="T35" fmla="*/ 42 h 42"/>
                <a:gd name="T36" fmla="*/ 47 w 54"/>
                <a:gd name="T37" fmla="*/ 3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42">
                  <a:moveTo>
                    <a:pt x="47" y="39"/>
                  </a:moveTo>
                  <a:cubicBezTo>
                    <a:pt x="45" y="38"/>
                    <a:pt x="42" y="36"/>
                    <a:pt x="38" y="33"/>
                  </a:cubicBezTo>
                  <a:cubicBezTo>
                    <a:pt x="34" y="31"/>
                    <a:pt x="29" y="27"/>
                    <a:pt x="24" y="23"/>
                  </a:cubicBezTo>
                  <a:cubicBezTo>
                    <a:pt x="18" y="18"/>
                    <a:pt x="14" y="15"/>
                    <a:pt x="11" y="12"/>
                  </a:cubicBezTo>
                  <a:cubicBezTo>
                    <a:pt x="10" y="11"/>
                    <a:pt x="9" y="10"/>
                    <a:pt x="8" y="9"/>
                  </a:cubicBezTo>
                  <a:cubicBezTo>
                    <a:pt x="8" y="9"/>
                    <a:pt x="7" y="8"/>
                    <a:pt x="7" y="7"/>
                  </a:cubicBezTo>
                  <a:cubicBezTo>
                    <a:pt x="5" y="6"/>
                    <a:pt x="4" y="5"/>
                    <a:pt x="4" y="4"/>
                  </a:cubicBezTo>
                  <a:cubicBezTo>
                    <a:pt x="3" y="3"/>
                    <a:pt x="2" y="3"/>
                    <a:pt x="2" y="2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1" y="2"/>
                    <a:pt x="3" y="3"/>
                    <a:pt x="4" y="5"/>
                  </a:cubicBezTo>
                  <a:cubicBezTo>
                    <a:pt x="8" y="8"/>
                    <a:pt x="14" y="14"/>
                    <a:pt x="24" y="22"/>
                  </a:cubicBezTo>
                  <a:cubicBezTo>
                    <a:pt x="30" y="27"/>
                    <a:pt x="35" y="30"/>
                    <a:pt x="38" y="33"/>
                  </a:cubicBezTo>
                  <a:cubicBezTo>
                    <a:pt x="42" y="35"/>
                    <a:pt x="45" y="37"/>
                    <a:pt x="47" y="39"/>
                  </a:cubicBezTo>
                  <a:cubicBezTo>
                    <a:pt x="50" y="40"/>
                    <a:pt x="51" y="41"/>
                    <a:pt x="52" y="42"/>
                  </a:cubicBezTo>
                  <a:cubicBezTo>
                    <a:pt x="53" y="42"/>
                    <a:pt x="54" y="42"/>
                    <a:pt x="54" y="42"/>
                  </a:cubicBezTo>
                  <a:cubicBezTo>
                    <a:pt x="54" y="42"/>
                    <a:pt x="53" y="42"/>
                    <a:pt x="52" y="42"/>
                  </a:cubicBezTo>
                  <a:cubicBezTo>
                    <a:pt x="51" y="41"/>
                    <a:pt x="50" y="40"/>
                    <a:pt x="47" y="3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4" name="Freeform 431">
              <a:extLst>
                <a:ext uri="{FF2B5EF4-FFF2-40B4-BE49-F238E27FC236}">
                  <a16:creationId xmlns:a16="http://schemas.microsoft.com/office/drawing/2014/main" id="{F2839589-6597-43CE-9726-91A4F3514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163" y="1965326"/>
              <a:ext cx="79375" cy="84138"/>
            </a:xfrm>
            <a:custGeom>
              <a:avLst/>
              <a:gdLst>
                <a:gd name="T0" fmla="*/ 23 w 30"/>
                <a:gd name="T1" fmla="*/ 23 h 32"/>
                <a:gd name="T2" fmla="*/ 15 w 30"/>
                <a:gd name="T3" fmla="*/ 15 h 32"/>
                <a:gd name="T4" fmla="*/ 7 w 30"/>
                <a:gd name="T5" fmla="*/ 7 h 32"/>
                <a:gd name="T6" fmla="*/ 6 w 30"/>
                <a:gd name="T7" fmla="*/ 5 h 32"/>
                <a:gd name="T8" fmla="*/ 5 w 30"/>
                <a:gd name="T9" fmla="*/ 4 h 32"/>
                <a:gd name="T10" fmla="*/ 3 w 30"/>
                <a:gd name="T11" fmla="*/ 2 h 32"/>
                <a:gd name="T12" fmla="*/ 0 w 30"/>
                <a:gd name="T13" fmla="*/ 0 h 32"/>
                <a:gd name="T14" fmla="*/ 0 w 30"/>
                <a:gd name="T15" fmla="*/ 0 h 32"/>
                <a:gd name="T16" fmla="*/ 1 w 30"/>
                <a:gd name="T17" fmla="*/ 0 h 32"/>
                <a:gd name="T18" fmla="*/ 3 w 30"/>
                <a:gd name="T19" fmla="*/ 2 h 32"/>
                <a:gd name="T20" fmla="*/ 16 w 30"/>
                <a:gd name="T21" fmla="*/ 14 h 32"/>
                <a:gd name="T22" fmla="*/ 24 w 30"/>
                <a:gd name="T23" fmla="*/ 23 h 32"/>
                <a:gd name="T24" fmla="*/ 28 w 30"/>
                <a:gd name="T25" fmla="*/ 28 h 32"/>
                <a:gd name="T26" fmla="*/ 30 w 30"/>
                <a:gd name="T27" fmla="*/ 31 h 32"/>
                <a:gd name="T28" fmla="*/ 30 w 30"/>
                <a:gd name="T29" fmla="*/ 32 h 32"/>
                <a:gd name="T30" fmla="*/ 30 w 30"/>
                <a:gd name="T31" fmla="*/ 31 h 32"/>
                <a:gd name="T32" fmla="*/ 28 w 30"/>
                <a:gd name="T33" fmla="*/ 28 h 32"/>
                <a:gd name="T34" fmla="*/ 23 w 30"/>
                <a:gd name="T35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32">
                  <a:moveTo>
                    <a:pt x="23" y="23"/>
                  </a:moveTo>
                  <a:cubicBezTo>
                    <a:pt x="21" y="21"/>
                    <a:pt x="19" y="18"/>
                    <a:pt x="15" y="15"/>
                  </a:cubicBezTo>
                  <a:cubicBezTo>
                    <a:pt x="12" y="11"/>
                    <a:pt x="10" y="9"/>
                    <a:pt x="7" y="7"/>
                  </a:cubicBezTo>
                  <a:cubicBezTo>
                    <a:pt x="7" y="6"/>
                    <a:pt x="6" y="6"/>
                    <a:pt x="6" y="5"/>
                  </a:cubicBezTo>
                  <a:cubicBezTo>
                    <a:pt x="6" y="5"/>
                    <a:pt x="5" y="4"/>
                    <a:pt x="5" y="4"/>
                  </a:cubicBezTo>
                  <a:cubicBezTo>
                    <a:pt x="4" y="3"/>
                    <a:pt x="3" y="3"/>
                    <a:pt x="3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1"/>
                    <a:pt x="2" y="1"/>
                    <a:pt x="3" y="2"/>
                  </a:cubicBezTo>
                  <a:cubicBezTo>
                    <a:pt x="6" y="4"/>
                    <a:pt x="10" y="8"/>
                    <a:pt x="16" y="14"/>
                  </a:cubicBezTo>
                  <a:cubicBezTo>
                    <a:pt x="19" y="17"/>
                    <a:pt x="22" y="20"/>
                    <a:pt x="24" y="23"/>
                  </a:cubicBezTo>
                  <a:cubicBezTo>
                    <a:pt x="26" y="25"/>
                    <a:pt x="27" y="27"/>
                    <a:pt x="28" y="28"/>
                  </a:cubicBezTo>
                  <a:cubicBezTo>
                    <a:pt x="29" y="30"/>
                    <a:pt x="30" y="31"/>
                    <a:pt x="30" y="31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1"/>
                  </a:cubicBezTo>
                  <a:cubicBezTo>
                    <a:pt x="29" y="31"/>
                    <a:pt x="29" y="30"/>
                    <a:pt x="28" y="28"/>
                  </a:cubicBezTo>
                  <a:cubicBezTo>
                    <a:pt x="26" y="27"/>
                    <a:pt x="25" y="25"/>
                    <a:pt x="23" y="2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5" name="Freeform 432">
              <a:extLst>
                <a:ext uri="{FF2B5EF4-FFF2-40B4-BE49-F238E27FC236}">
                  <a16:creationId xmlns:a16="http://schemas.microsoft.com/office/drawing/2014/main" id="{2A23F44B-2746-4F62-B997-0456EB040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2028826"/>
              <a:ext cx="49213" cy="44450"/>
            </a:xfrm>
            <a:custGeom>
              <a:avLst/>
              <a:gdLst>
                <a:gd name="T0" fmla="*/ 9 w 19"/>
                <a:gd name="T1" fmla="*/ 9 h 17"/>
                <a:gd name="T2" fmla="*/ 0 w 19"/>
                <a:gd name="T3" fmla="*/ 0 h 17"/>
                <a:gd name="T4" fmla="*/ 10 w 19"/>
                <a:gd name="T5" fmla="*/ 8 h 17"/>
                <a:gd name="T6" fmla="*/ 19 w 19"/>
                <a:gd name="T7" fmla="*/ 17 h 17"/>
                <a:gd name="T8" fmla="*/ 9 w 1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7">
                  <a:moveTo>
                    <a:pt x="9" y="9"/>
                  </a:moveTo>
                  <a:cubicBezTo>
                    <a:pt x="1" y="2"/>
                    <a:pt x="0" y="0"/>
                    <a:pt x="0" y="0"/>
                  </a:cubicBezTo>
                  <a:cubicBezTo>
                    <a:pt x="0" y="0"/>
                    <a:pt x="2" y="2"/>
                    <a:pt x="10" y="8"/>
                  </a:cubicBezTo>
                  <a:cubicBezTo>
                    <a:pt x="17" y="15"/>
                    <a:pt x="19" y="17"/>
                    <a:pt x="19" y="17"/>
                  </a:cubicBezTo>
                  <a:cubicBezTo>
                    <a:pt x="19" y="17"/>
                    <a:pt x="17" y="16"/>
                    <a:pt x="9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6" name="Freeform 433">
              <a:extLst>
                <a:ext uri="{FF2B5EF4-FFF2-40B4-BE49-F238E27FC236}">
                  <a16:creationId xmlns:a16="http://schemas.microsoft.com/office/drawing/2014/main" id="{A496E9B0-58D3-43FA-B7C2-6CB19178E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5" y="1922463"/>
              <a:ext cx="266700" cy="233363"/>
            </a:xfrm>
            <a:custGeom>
              <a:avLst/>
              <a:gdLst>
                <a:gd name="T0" fmla="*/ 101 w 101"/>
                <a:gd name="T1" fmla="*/ 87 h 88"/>
                <a:gd name="T2" fmla="*/ 100 w 101"/>
                <a:gd name="T3" fmla="*/ 88 h 88"/>
                <a:gd name="T4" fmla="*/ 99 w 101"/>
                <a:gd name="T5" fmla="*/ 88 h 88"/>
                <a:gd name="T6" fmla="*/ 97 w 101"/>
                <a:gd name="T7" fmla="*/ 86 h 88"/>
                <a:gd name="T8" fmla="*/ 94 w 101"/>
                <a:gd name="T9" fmla="*/ 84 h 88"/>
                <a:gd name="T10" fmla="*/ 71 w 101"/>
                <a:gd name="T11" fmla="*/ 71 h 88"/>
                <a:gd name="T12" fmla="*/ 65 w 101"/>
                <a:gd name="T13" fmla="*/ 68 h 88"/>
                <a:gd name="T14" fmla="*/ 0 w 101"/>
                <a:gd name="T15" fmla="*/ 0 h 88"/>
                <a:gd name="T16" fmla="*/ 23 w 101"/>
                <a:gd name="T17" fmla="*/ 33 h 88"/>
                <a:gd name="T18" fmla="*/ 40 w 101"/>
                <a:gd name="T19" fmla="*/ 50 h 88"/>
                <a:gd name="T20" fmla="*/ 57 w 101"/>
                <a:gd name="T21" fmla="*/ 62 h 88"/>
                <a:gd name="T22" fmla="*/ 75 w 101"/>
                <a:gd name="T23" fmla="*/ 72 h 88"/>
                <a:gd name="T24" fmla="*/ 85 w 101"/>
                <a:gd name="T25" fmla="*/ 78 h 88"/>
                <a:gd name="T26" fmla="*/ 92 w 101"/>
                <a:gd name="T27" fmla="*/ 82 h 88"/>
                <a:gd name="T28" fmla="*/ 98 w 101"/>
                <a:gd name="T29" fmla="*/ 87 h 88"/>
                <a:gd name="T30" fmla="*/ 100 w 101"/>
                <a:gd name="T31" fmla="*/ 88 h 88"/>
                <a:gd name="T32" fmla="*/ 99 w 101"/>
                <a:gd name="T33" fmla="*/ 85 h 88"/>
                <a:gd name="T34" fmla="*/ 96 w 101"/>
                <a:gd name="T35" fmla="*/ 82 h 88"/>
                <a:gd name="T36" fmla="*/ 93 w 101"/>
                <a:gd name="T37" fmla="*/ 76 h 88"/>
                <a:gd name="T38" fmla="*/ 92 w 101"/>
                <a:gd name="T39" fmla="*/ 75 h 88"/>
                <a:gd name="T40" fmla="*/ 93 w 101"/>
                <a:gd name="T41" fmla="*/ 76 h 88"/>
                <a:gd name="T42" fmla="*/ 97 w 101"/>
                <a:gd name="T43" fmla="*/ 82 h 88"/>
                <a:gd name="T44" fmla="*/ 99 w 101"/>
                <a:gd name="T45" fmla="*/ 85 h 88"/>
                <a:gd name="T46" fmla="*/ 101 w 101"/>
                <a:gd name="T47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1" h="88">
                  <a:moveTo>
                    <a:pt x="101" y="87"/>
                  </a:moveTo>
                  <a:cubicBezTo>
                    <a:pt x="101" y="88"/>
                    <a:pt x="101" y="88"/>
                    <a:pt x="100" y="88"/>
                  </a:cubicBezTo>
                  <a:cubicBezTo>
                    <a:pt x="100" y="88"/>
                    <a:pt x="99" y="88"/>
                    <a:pt x="99" y="88"/>
                  </a:cubicBezTo>
                  <a:cubicBezTo>
                    <a:pt x="98" y="87"/>
                    <a:pt x="97" y="86"/>
                    <a:pt x="97" y="86"/>
                  </a:cubicBezTo>
                  <a:cubicBezTo>
                    <a:pt x="96" y="85"/>
                    <a:pt x="95" y="85"/>
                    <a:pt x="94" y="84"/>
                  </a:cubicBezTo>
                  <a:cubicBezTo>
                    <a:pt x="87" y="80"/>
                    <a:pt x="79" y="75"/>
                    <a:pt x="71" y="71"/>
                  </a:cubicBezTo>
                  <a:cubicBezTo>
                    <a:pt x="69" y="70"/>
                    <a:pt x="67" y="69"/>
                    <a:pt x="65" y="68"/>
                  </a:cubicBezTo>
                  <a:cubicBezTo>
                    <a:pt x="35" y="52"/>
                    <a:pt x="11" y="26"/>
                    <a:pt x="0" y="0"/>
                  </a:cubicBezTo>
                  <a:cubicBezTo>
                    <a:pt x="2" y="2"/>
                    <a:pt x="8" y="17"/>
                    <a:pt x="23" y="33"/>
                  </a:cubicBezTo>
                  <a:cubicBezTo>
                    <a:pt x="28" y="39"/>
                    <a:pt x="34" y="45"/>
                    <a:pt x="40" y="50"/>
                  </a:cubicBezTo>
                  <a:cubicBezTo>
                    <a:pt x="45" y="54"/>
                    <a:pt x="51" y="58"/>
                    <a:pt x="57" y="62"/>
                  </a:cubicBezTo>
                  <a:cubicBezTo>
                    <a:pt x="63" y="66"/>
                    <a:pt x="69" y="69"/>
                    <a:pt x="75" y="72"/>
                  </a:cubicBezTo>
                  <a:cubicBezTo>
                    <a:pt x="78" y="74"/>
                    <a:pt x="81" y="76"/>
                    <a:pt x="85" y="78"/>
                  </a:cubicBezTo>
                  <a:cubicBezTo>
                    <a:pt x="87" y="79"/>
                    <a:pt x="90" y="81"/>
                    <a:pt x="92" y="82"/>
                  </a:cubicBezTo>
                  <a:cubicBezTo>
                    <a:pt x="94" y="83"/>
                    <a:pt x="97" y="85"/>
                    <a:pt x="98" y="87"/>
                  </a:cubicBezTo>
                  <a:cubicBezTo>
                    <a:pt x="99" y="87"/>
                    <a:pt x="99" y="88"/>
                    <a:pt x="100" y="88"/>
                  </a:cubicBezTo>
                  <a:cubicBezTo>
                    <a:pt x="101" y="87"/>
                    <a:pt x="99" y="85"/>
                    <a:pt x="99" y="85"/>
                  </a:cubicBezTo>
                  <a:cubicBezTo>
                    <a:pt x="98" y="84"/>
                    <a:pt x="97" y="83"/>
                    <a:pt x="96" y="82"/>
                  </a:cubicBezTo>
                  <a:cubicBezTo>
                    <a:pt x="94" y="79"/>
                    <a:pt x="93" y="77"/>
                    <a:pt x="93" y="76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92" y="75"/>
                    <a:pt x="93" y="75"/>
                    <a:pt x="93" y="76"/>
                  </a:cubicBezTo>
                  <a:cubicBezTo>
                    <a:pt x="94" y="77"/>
                    <a:pt x="95" y="79"/>
                    <a:pt x="97" y="82"/>
                  </a:cubicBezTo>
                  <a:cubicBezTo>
                    <a:pt x="98" y="83"/>
                    <a:pt x="99" y="84"/>
                    <a:pt x="99" y="85"/>
                  </a:cubicBezTo>
                  <a:cubicBezTo>
                    <a:pt x="100" y="85"/>
                    <a:pt x="101" y="86"/>
                    <a:pt x="101" y="8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7" name="Freeform 434">
              <a:extLst>
                <a:ext uri="{FF2B5EF4-FFF2-40B4-BE49-F238E27FC236}">
                  <a16:creationId xmlns:a16="http://schemas.microsoft.com/office/drawing/2014/main" id="{33F02004-B767-413F-B259-933A10793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4925" y="2025651"/>
              <a:ext cx="90488" cy="79375"/>
            </a:xfrm>
            <a:custGeom>
              <a:avLst/>
              <a:gdLst>
                <a:gd name="T0" fmla="*/ 34 w 34"/>
                <a:gd name="T1" fmla="*/ 30 h 30"/>
                <a:gd name="T2" fmla="*/ 31 w 34"/>
                <a:gd name="T3" fmla="*/ 27 h 30"/>
                <a:gd name="T4" fmla="*/ 16 w 34"/>
                <a:gd name="T5" fmla="*/ 15 h 30"/>
                <a:gd name="T6" fmla="*/ 3 w 34"/>
                <a:gd name="T7" fmla="*/ 3 h 30"/>
                <a:gd name="T8" fmla="*/ 0 w 34"/>
                <a:gd name="T9" fmla="*/ 0 h 30"/>
                <a:gd name="T10" fmla="*/ 4 w 34"/>
                <a:gd name="T11" fmla="*/ 3 h 30"/>
                <a:gd name="T12" fmla="*/ 17 w 34"/>
                <a:gd name="T13" fmla="*/ 14 h 30"/>
                <a:gd name="T14" fmla="*/ 31 w 34"/>
                <a:gd name="T15" fmla="*/ 27 h 30"/>
                <a:gd name="T16" fmla="*/ 34 w 34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0">
                  <a:moveTo>
                    <a:pt x="34" y="30"/>
                  </a:moveTo>
                  <a:cubicBezTo>
                    <a:pt x="34" y="30"/>
                    <a:pt x="33" y="29"/>
                    <a:pt x="31" y="27"/>
                  </a:cubicBezTo>
                  <a:cubicBezTo>
                    <a:pt x="28" y="25"/>
                    <a:pt x="23" y="21"/>
                    <a:pt x="16" y="15"/>
                  </a:cubicBezTo>
                  <a:cubicBezTo>
                    <a:pt x="9" y="9"/>
                    <a:pt x="5" y="5"/>
                    <a:pt x="3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4" y="3"/>
                  </a:cubicBezTo>
                  <a:cubicBezTo>
                    <a:pt x="6" y="5"/>
                    <a:pt x="10" y="9"/>
                    <a:pt x="17" y="14"/>
                  </a:cubicBezTo>
                  <a:cubicBezTo>
                    <a:pt x="24" y="21"/>
                    <a:pt x="28" y="24"/>
                    <a:pt x="31" y="27"/>
                  </a:cubicBezTo>
                  <a:cubicBezTo>
                    <a:pt x="34" y="29"/>
                    <a:pt x="34" y="30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8" name="Freeform 435">
              <a:extLst>
                <a:ext uri="{FF2B5EF4-FFF2-40B4-BE49-F238E27FC236}">
                  <a16:creationId xmlns:a16="http://schemas.microsoft.com/office/drawing/2014/main" id="{04B22FEF-5541-467C-925C-710718AD7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9675" y="1922463"/>
              <a:ext cx="6350" cy="19050"/>
            </a:xfrm>
            <a:custGeom>
              <a:avLst/>
              <a:gdLst>
                <a:gd name="T0" fmla="*/ 1 w 2"/>
                <a:gd name="T1" fmla="*/ 7 h 7"/>
                <a:gd name="T2" fmla="*/ 0 w 2"/>
                <a:gd name="T3" fmla="*/ 7 h 7"/>
                <a:gd name="T4" fmla="*/ 0 w 2"/>
                <a:gd name="T5" fmla="*/ 6 h 7"/>
                <a:gd name="T6" fmla="*/ 1 w 2"/>
                <a:gd name="T7" fmla="*/ 6 h 7"/>
                <a:gd name="T8" fmla="*/ 1 w 2"/>
                <a:gd name="T9" fmla="*/ 5 h 7"/>
                <a:gd name="T10" fmla="*/ 2 w 2"/>
                <a:gd name="T11" fmla="*/ 3 h 7"/>
                <a:gd name="T12" fmla="*/ 1 w 2"/>
                <a:gd name="T13" fmla="*/ 2 h 7"/>
                <a:gd name="T14" fmla="*/ 1 w 2"/>
                <a:gd name="T15" fmla="*/ 1 h 7"/>
                <a:gd name="T16" fmla="*/ 0 w 2"/>
                <a:gd name="T17" fmla="*/ 1 h 7"/>
                <a:gd name="T18" fmla="*/ 0 w 2"/>
                <a:gd name="T19" fmla="*/ 0 h 7"/>
                <a:gd name="T20" fmla="*/ 0 w 2"/>
                <a:gd name="T21" fmla="*/ 0 h 7"/>
                <a:gd name="T22" fmla="*/ 1 w 2"/>
                <a:gd name="T23" fmla="*/ 1 h 7"/>
                <a:gd name="T24" fmla="*/ 2 w 2"/>
                <a:gd name="T25" fmla="*/ 1 h 7"/>
                <a:gd name="T26" fmla="*/ 2 w 2"/>
                <a:gd name="T27" fmla="*/ 3 h 7"/>
                <a:gd name="T28" fmla="*/ 2 w 2"/>
                <a:gd name="T29" fmla="*/ 5 h 7"/>
                <a:gd name="T30" fmla="*/ 1 w 2"/>
                <a:gd name="T31" fmla="*/ 6 h 7"/>
                <a:gd name="T32" fmla="*/ 1 w 2"/>
                <a:gd name="T3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" h="7">
                  <a:moveTo>
                    <a:pt x="1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2" y="5"/>
                    <a:pt x="2" y="4"/>
                    <a:pt x="2" y="3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9" name="Freeform 436">
              <a:extLst>
                <a:ext uri="{FF2B5EF4-FFF2-40B4-BE49-F238E27FC236}">
                  <a16:creationId xmlns:a16="http://schemas.microsoft.com/office/drawing/2014/main" id="{A744C1CF-5F63-4773-A2E8-ED36144D7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608138"/>
              <a:ext cx="26988" cy="15875"/>
            </a:xfrm>
            <a:custGeom>
              <a:avLst/>
              <a:gdLst>
                <a:gd name="T0" fmla="*/ 0 w 10"/>
                <a:gd name="T1" fmla="*/ 1 h 6"/>
                <a:gd name="T2" fmla="*/ 8 w 10"/>
                <a:gd name="T3" fmla="*/ 4 h 6"/>
                <a:gd name="T4" fmla="*/ 9 w 10"/>
                <a:gd name="T5" fmla="*/ 0 h 6"/>
                <a:gd name="T6" fmla="*/ 10 w 10"/>
                <a:gd name="T7" fmla="*/ 1 h 6"/>
                <a:gd name="T8" fmla="*/ 5 w 10"/>
                <a:gd name="T9" fmla="*/ 5 h 6"/>
                <a:gd name="T10" fmla="*/ 0 w 10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0" y="1"/>
                  </a:moveTo>
                  <a:cubicBezTo>
                    <a:pt x="1" y="1"/>
                    <a:pt x="4" y="6"/>
                    <a:pt x="8" y="4"/>
                  </a:cubicBezTo>
                  <a:cubicBezTo>
                    <a:pt x="9" y="3"/>
                    <a:pt x="9" y="1"/>
                    <a:pt x="9" y="0"/>
                  </a:cubicBezTo>
                  <a:cubicBezTo>
                    <a:pt x="9" y="0"/>
                    <a:pt x="10" y="0"/>
                    <a:pt x="10" y="1"/>
                  </a:cubicBezTo>
                  <a:cubicBezTo>
                    <a:pt x="10" y="4"/>
                    <a:pt x="8" y="5"/>
                    <a:pt x="5" y="5"/>
                  </a:cubicBezTo>
                  <a:cubicBezTo>
                    <a:pt x="3" y="4"/>
                    <a:pt x="1" y="2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0" name="Freeform 437">
              <a:extLst>
                <a:ext uri="{FF2B5EF4-FFF2-40B4-BE49-F238E27FC236}">
                  <a16:creationId xmlns:a16="http://schemas.microsoft.com/office/drawing/2014/main" id="{42C6E8D3-45B2-4569-9E43-709A109E5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1636713"/>
              <a:ext cx="23813" cy="47625"/>
            </a:xfrm>
            <a:custGeom>
              <a:avLst/>
              <a:gdLst>
                <a:gd name="T0" fmla="*/ 7 w 9"/>
                <a:gd name="T1" fmla="*/ 2 h 18"/>
                <a:gd name="T2" fmla="*/ 3 w 9"/>
                <a:gd name="T3" fmla="*/ 5 h 18"/>
                <a:gd name="T4" fmla="*/ 1 w 9"/>
                <a:gd name="T5" fmla="*/ 15 h 18"/>
                <a:gd name="T6" fmla="*/ 7 w 9"/>
                <a:gd name="T7" fmla="*/ 7 h 18"/>
                <a:gd name="T8" fmla="*/ 9 w 9"/>
                <a:gd name="T9" fmla="*/ 5 h 18"/>
                <a:gd name="T10" fmla="*/ 9 w 9"/>
                <a:gd name="T11" fmla="*/ 6 h 18"/>
                <a:gd name="T12" fmla="*/ 7 w 9"/>
                <a:gd name="T13" fmla="*/ 8 h 18"/>
                <a:gd name="T14" fmla="*/ 4 w 9"/>
                <a:gd name="T15" fmla="*/ 12 h 18"/>
                <a:gd name="T16" fmla="*/ 1 w 9"/>
                <a:gd name="T17" fmla="*/ 15 h 18"/>
                <a:gd name="T18" fmla="*/ 1 w 9"/>
                <a:gd name="T19" fmla="*/ 10 h 18"/>
                <a:gd name="T20" fmla="*/ 4 w 9"/>
                <a:gd name="T21" fmla="*/ 3 h 18"/>
                <a:gd name="T22" fmla="*/ 7 w 9"/>
                <a:gd name="T23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8">
                  <a:moveTo>
                    <a:pt x="7" y="2"/>
                  </a:moveTo>
                  <a:cubicBezTo>
                    <a:pt x="7" y="2"/>
                    <a:pt x="6" y="1"/>
                    <a:pt x="3" y="5"/>
                  </a:cubicBezTo>
                  <a:cubicBezTo>
                    <a:pt x="1" y="9"/>
                    <a:pt x="0" y="15"/>
                    <a:pt x="1" y="15"/>
                  </a:cubicBezTo>
                  <a:cubicBezTo>
                    <a:pt x="3" y="16"/>
                    <a:pt x="4" y="8"/>
                    <a:pt x="7" y="7"/>
                  </a:cubicBezTo>
                  <a:cubicBezTo>
                    <a:pt x="8" y="6"/>
                    <a:pt x="9" y="6"/>
                    <a:pt x="9" y="5"/>
                  </a:cubicBezTo>
                  <a:cubicBezTo>
                    <a:pt x="9" y="5"/>
                    <a:pt x="9" y="5"/>
                    <a:pt x="9" y="6"/>
                  </a:cubicBezTo>
                  <a:cubicBezTo>
                    <a:pt x="9" y="7"/>
                    <a:pt x="8" y="7"/>
                    <a:pt x="7" y="8"/>
                  </a:cubicBezTo>
                  <a:cubicBezTo>
                    <a:pt x="6" y="9"/>
                    <a:pt x="5" y="10"/>
                    <a:pt x="4" y="12"/>
                  </a:cubicBezTo>
                  <a:cubicBezTo>
                    <a:pt x="4" y="13"/>
                    <a:pt x="2" y="18"/>
                    <a:pt x="1" y="15"/>
                  </a:cubicBezTo>
                  <a:cubicBezTo>
                    <a:pt x="0" y="14"/>
                    <a:pt x="0" y="11"/>
                    <a:pt x="1" y="10"/>
                  </a:cubicBezTo>
                  <a:cubicBezTo>
                    <a:pt x="1" y="8"/>
                    <a:pt x="2" y="6"/>
                    <a:pt x="4" y="3"/>
                  </a:cubicBezTo>
                  <a:cubicBezTo>
                    <a:pt x="6" y="0"/>
                    <a:pt x="7" y="2"/>
                    <a:pt x="7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1" name="Freeform 438">
              <a:extLst>
                <a:ext uri="{FF2B5EF4-FFF2-40B4-BE49-F238E27FC236}">
                  <a16:creationId xmlns:a16="http://schemas.microsoft.com/office/drawing/2014/main" id="{ACBA45E3-CE32-42A9-A567-105559D0F1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1589088"/>
              <a:ext cx="12700" cy="15875"/>
            </a:xfrm>
            <a:custGeom>
              <a:avLst/>
              <a:gdLst>
                <a:gd name="T0" fmla="*/ 5 w 5"/>
                <a:gd name="T1" fmla="*/ 3 h 6"/>
                <a:gd name="T2" fmla="*/ 1 w 5"/>
                <a:gd name="T3" fmla="*/ 2 h 6"/>
                <a:gd name="T4" fmla="*/ 4 w 5"/>
                <a:gd name="T5" fmla="*/ 4 h 6"/>
                <a:gd name="T6" fmla="*/ 5 w 5"/>
                <a:gd name="T7" fmla="*/ 3 h 6"/>
                <a:gd name="T8" fmla="*/ 4 w 5"/>
                <a:gd name="T9" fmla="*/ 4 h 6"/>
                <a:gd name="T10" fmla="*/ 2 w 5"/>
                <a:gd name="T11" fmla="*/ 4 h 6"/>
                <a:gd name="T12" fmla="*/ 2 w 5"/>
                <a:gd name="T13" fmla="*/ 1 h 6"/>
                <a:gd name="T14" fmla="*/ 4 w 5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5" y="3"/>
                  </a:moveTo>
                  <a:cubicBezTo>
                    <a:pt x="4" y="0"/>
                    <a:pt x="1" y="0"/>
                    <a:pt x="1" y="2"/>
                  </a:cubicBezTo>
                  <a:cubicBezTo>
                    <a:pt x="0" y="5"/>
                    <a:pt x="3" y="6"/>
                    <a:pt x="4" y="4"/>
                  </a:cubicBezTo>
                  <a:cubicBezTo>
                    <a:pt x="5" y="4"/>
                    <a:pt x="5" y="3"/>
                    <a:pt x="5" y="3"/>
                  </a:cubicBezTo>
                  <a:close/>
                  <a:moveTo>
                    <a:pt x="4" y="4"/>
                  </a:moveTo>
                  <a:cubicBezTo>
                    <a:pt x="4" y="4"/>
                    <a:pt x="3" y="4"/>
                    <a:pt x="2" y="4"/>
                  </a:cubicBezTo>
                  <a:cubicBezTo>
                    <a:pt x="1" y="4"/>
                    <a:pt x="1" y="2"/>
                    <a:pt x="2" y="1"/>
                  </a:cubicBezTo>
                  <a:cubicBezTo>
                    <a:pt x="3" y="0"/>
                    <a:pt x="5" y="2"/>
                    <a:pt x="4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2" name="Freeform 439">
              <a:extLst>
                <a:ext uri="{FF2B5EF4-FFF2-40B4-BE49-F238E27FC236}">
                  <a16:creationId xmlns:a16="http://schemas.microsoft.com/office/drawing/2014/main" id="{631D0BC3-F633-451B-B6E5-0C8BA333A4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0150" y="1592263"/>
              <a:ext cx="7938" cy="7938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1 h 3"/>
                <a:gd name="T10" fmla="*/ 2 w 3"/>
                <a:gd name="T11" fmla="*/ 1 h 3"/>
                <a:gd name="T12" fmla="*/ 1 w 3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2"/>
                    <a:pt x="3" y="1"/>
                    <a:pt x="2" y="1"/>
                  </a:cubicBezTo>
                  <a:close/>
                  <a:moveTo>
                    <a:pt x="1" y="1"/>
                  </a:moveTo>
                  <a:cubicBezTo>
                    <a:pt x="1" y="1"/>
                    <a:pt x="2" y="1"/>
                    <a:pt x="2" y="1"/>
                  </a:cubicBezTo>
                  <a:cubicBezTo>
                    <a:pt x="2" y="2"/>
                    <a:pt x="1" y="2"/>
                    <a:pt x="1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3" name="Freeform 440">
              <a:extLst>
                <a:ext uri="{FF2B5EF4-FFF2-40B4-BE49-F238E27FC236}">
                  <a16:creationId xmlns:a16="http://schemas.microsoft.com/office/drawing/2014/main" id="{524CFBCA-6180-4A1D-BB7B-71B7D4FA1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225" y="1616076"/>
              <a:ext cx="23813" cy="179388"/>
            </a:xfrm>
            <a:custGeom>
              <a:avLst/>
              <a:gdLst>
                <a:gd name="T0" fmla="*/ 4 w 9"/>
                <a:gd name="T1" fmla="*/ 68 h 68"/>
                <a:gd name="T2" fmla="*/ 4 w 9"/>
                <a:gd name="T3" fmla="*/ 68 h 68"/>
                <a:gd name="T4" fmla="*/ 4 w 9"/>
                <a:gd name="T5" fmla="*/ 68 h 68"/>
                <a:gd name="T6" fmla="*/ 3 w 9"/>
                <a:gd name="T7" fmla="*/ 58 h 68"/>
                <a:gd name="T8" fmla="*/ 3 w 9"/>
                <a:gd name="T9" fmla="*/ 48 h 68"/>
                <a:gd name="T10" fmla="*/ 9 w 9"/>
                <a:gd name="T11" fmla="*/ 0 h 68"/>
                <a:gd name="T12" fmla="*/ 3 w 9"/>
                <a:gd name="T13" fmla="*/ 48 h 68"/>
                <a:gd name="T14" fmla="*/ 4 w 9"/>
                <a:gd name="T15" fmla="*/ 58 h 68"/>
                <a:gd name="T16" fmla="*/ 4 w 9"/>
                <a:gd name="T17" fmla="*/ 64 h 68"/>
                <a:gd name="T18" fmla="*/ 4 w 9"/>
                <a:gd name="T1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68">
                  <a:moveTo>
                    <a:pt x="4" y="68"/>
                  </a:moveTo>
                  <a:cubicBezTo>
                    <a:pt x="4" y="68"/>
                    <a:pt x="4" y="68"/>
                    <a:pt x="4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6"/>
                    <a:pt x="4" y="62"/>
                    <a:pt x="3" y="58"/>
                  </a:cubicBezTo>
                  <a:cubicBezTo>
                    <a:pt x="3" y="56"/>
                    <a:pt x="3" y="53"/>
                    <a:pt x="3" y="48"/>
                  </a:cubicBezTo>
                  <a:cubicBezTo>
                    <a:pt x="0" y="20"/>
                    <a:pt x="8" y="0"/>
                    <a:pt x="9" y="0"/>
                  </a:cubicBezTo>
                  <a:cubicBezTo>
                    <a:pt x="8" y="5"/>
                    <a:pt x="1" y="21"/>
                    <a:pt x="3" y="48"/>
                  </a:cubicBezTo>
                  <a:cubicBezTo>
                    <a:pt x="3" y="53"/>
                    <a:pt x="4" y="56"/>
                    <a:pt x="4" y="58"/>
                  </a:cubicBezTo>
                  <a:cubicBezTo>
                    <a:pt x="4" y="61"/>
                    <a:pt x="4" y="63"/>
                    <a:pt x="4" y="64"/>
                  </a:cubicBezTo>
                  <a:cubicBezTo>
                    <a:pt x="4" y="64"/>
                    <a:pt x="4" y="67"/>
                    <a:pt x="4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4" name="Freeform 441">
              <a:extLst>
                <a:ext uri="{FF2B5EF4-FFF2-40B4-BE49-F238E27FC236}">
                  <a16:creationId xmlns:a16="http://schemas.microsoft.com/office/drawing/2014/main" id="{55DA7E4F-23B1-4891-B55B-AC0111F79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863" y="1639888"/>
              <a:ext cx="38100" cy="138113"/>
            </a:xfrm>
            <a:custGeom>
              <a:avLst/>
              <a:gdLst>
                <a:gd name="T0" fmla="*/ 14 w 14"/>
                <a:gd name="T1" fmla="*/ 8 h 52"/>
                <a:gd name="T2" fmla="*/ 14 w 14"/>
                <a:gd name="T3" fmla="*/ 0 h 52"/>
                <a:gd name="T4" fmla="*/ 14 w 14"/>
                <a:gd name="T5" fmla="*/ 7 h 52"/>
                <a:gd name="T6" fmla="*/ 14 w 14"/>
                <a:gd name="T7" fmla="*/ 9 h 52"/>
                <a:gd name="T8" fmla="*/ 10 w 14"/>
                <a:gd name="T9" fmla="*/ 30 h 52"/>
                <a:gd name="T10" fmla="*/ 9 w 14"/>
                <a:gd name="T11" fmla="*/ 34 h 52"/>
                <a:gd name="T12" fmla="*/ 1 w 14"/>
                <a:gd name="T13" fmla="*/ 51 h 52"/>
                <a:gd name="T14" fmla="*/ 0 w 14"/>
                <a:gd name="T15" fmla="*/ 52 h 52"/>
                <a:gd name="T16" fmla="*/ 1 w 14"/>
                <a:gd name="T17" fmla="*/ 51 h 52"/>
                <a:gd name="T18" fmla="*/ 14 w 14"/>
                <a:gd name="T19" fmla="*/ 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2">
                  <a:moveTo>
                    <a:pt x="14" y="8"/>
                  </a:moveTo>
                  <a:cubicBezTo>
                    <a:pt x="14" y="7"/>
                    <a:pt x="14" y="3"/>
                    <a:pt x="14" y="0"/>
                  </a:cubicBezTo>
                  <a:cubicBezTo>
                    <a:pt x="14" y="2"/>
                    <a:pt x="14" y="5"/>
                    <a:pt x="14" y="7"/>
                  </a:cubicBezTo>
                  <a:cubicBezTo>
                    <a:pt x="14" y="8"/>
                    <a:pt x="14" y="8"/>
                    <a:pt x="14" y="9"/>
                  </a:cubicBezTo>
                  <a:cubicBezTo>
                    <a:pt x="14" y="14"/>
                    <a:pt x="13" y="22"/>
                    <a:pt x="10" y="30"/>
                  </a:cubicBezTo>
                  <a:cubicBezTo>
                    <a:pt x="10" y="32"/>
                    <a:pt x="9" y="33"/>
                    <a:pt x="9" y="34"/>
                  </a:cubicBezTo>
                  <a:cubicBezTo>
                    <a:pt x="7" y="41"/>
                    <a:pt x="4" y="45"/>
                    <a:pt x="1" y="51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1" y="51"/>
                  </a:cubicBezTo>
                  <a:cubicBezTo>
                    <a:pt x="8" y="38"/>
                    <a:pt x="12" y="25"/>
                    <a:pt x="14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5" name="Freeform 442">
              <a:extLst>
                <a:ext uri="{FF2B5EF4-FFF2-40B4-BE49-F238E27FC236}">
                  <a16:creationId xmlns:a16="http://schemas.microsoft.com/office/drawing/2014/main" id="{1195EEB8-803E-40E0-9439-37CCCDB31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2213" y="1644651"/>
              <a:ext cx="15875" cy="26988"/>
            </a:xfrm>
            <a:custGeom>
              <a:avLst/>
              <a:gdLst>
                <a:gd name="T0" fmla="*/ 4 w 6"/>
                <a:gd name="T1" fmla="*/ 1 h 10"/>
                <a:gd name="T2" fmla="*/ 6 w 6"/>
                <a:gd name="T3" fmla="*/ 0 h 10"/>
                <a:gd name="T4" fmla="*/ 5 w 6"/>
                <a:gd name="T5" fmla="*/ 0 h 10"/>
                <a:gd name="T6" fmla="*/ 0 w 6"/>
                <a:gd name="T7" fmla="*/ 10 h 10"/>
                <a:gd name="T8" fmla="*/ 4 w 6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4" y="1"/>
                  </a:move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2" y="3"/>
                    <a:pt x="2" y="6"/>
                    <a:pt x="0" y="10"/>
                  </a:cubicBezTo>
                  <a:cubicBezTo>
                    <a:pt x="1" y="9"/>
                    <a:pt x="1" y="5"/>
                    <a:pt x="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6" name="Freeform 443">
              <a:extLst>
                <a:ext uri="{FF2B5EF4-FFF2-40B4-BE49-F238E27FC236}">
                  <a16:creationId xmlns:a16="http://schemas.microsoft.com/office/drawing/2014/main" id="{989219F2-DBE4-41E2-A8E4-9BBF17A65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3800" y="1644651"/>
              <a:ext cx="14288" cy="26988"/>
            </a:xfrm>
            <a:custGeom>
              <a:avLst/>
              <a:gdLst>
                <a:gd name="T0" fmla="*/ 2 w 5"/>
                <a:gd name="T1" fmla="*/ 4 h 10"/>
                <a:gd name="T2" fmla="*/ 5 w 5"/>
                <a:gd name="T3" fmla="*/ 0 h 10"/>
                <a:gd name="T4" fmla="*/ 0 w 5"/>
                <a:gd name="T5" fmla="*/ 10 h 10"/>
                <a:gd name="T6" fmla="*/ 2 w 5"/>
                <a:gd name="T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0">
                  <a:moveTo>
                    <a:pt x="2" y="4"/>
                  </a:moveTo>
                  <a:cubicBezTo>
                    <a:pt x="3" y="1"/>
                    <a:pt x="5" y="0"/>
                    <a:pt x="5" y="0"/>
                  </a:cubicBezTo>
                  <a:cubicBezTo>
                    <a:pt x="3" y="3"/>
                    <a:pt x="2" y="5"/>
                    <a:pt x="0" y="10"/>
                  </a:cubicBezTo>
                  <a:cubicBezTo>
                    <a:pt x="0" y="9"/>
                    <a:pt x="1" y="7"/>
                    <a:pt x="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7" name="Freeform 444">
              <a:extLst>
                <a:ext uri="{FF2B5EF4-FFF2-40B4-BE49-F238E27FC236}">
                  <a16:creationId xmlns:a16="http://schemas.microsoft.com/office/drawing/2014/main" id="{D33C392E-29E1-4296-A6DC-65E662424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1738" y="1644651"/>
              <a:ext cx="6350" cy="14288"/>
            </a:xfrm>
            <a:custGeom>
              <a:avLst/>
              <a:gdLst>
                <a:gd name="T0" fmla="*/ 0 w 2"/>
                <a:gd name="T1" fmla="*/ 5 h 5"/>
                <a:gd name="T2" fmla="*/ 2 w 2"/>
                <a:gd name="T3" fmla="*/ 0 h 5"/>
                <a:gd name="T4" fmla="*/ 0 w 2"/>
                <a:gd name="T5" fmla="*/ 5 h 5"/>
                <a:gd name="T6" fmla="*/ 0 w 2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cubicBezTo>
                    <a:pt x="1" y="2"/>
                    <a:pt x="2" y="0"/>
                    <a:pt x="2" y="0"/>
                  </a:cubicBezTo>
                  <a:cubicBezTo>
                    <a:pt x="1" y="2"/>
                    <a:pt x="1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8" name="Freeform 445">
              <a:extLst>
                <a:ext uri="{FF2B5EF4-FFF2-40B4-BE49-F238E27FC236}">
                  <a16:creationId xmlns:a16="http://schemas.microsoft.com/office/drawing/2014/main" id="{8F6A96FE-160E-473C-9424-7C8CB3254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4913" y="1647826"/>
              <a:ext cx="4763" cy="7938"/>
            </a:xfrm>
            <a:custGeom>
              <a:avLst/>
              <a:gdLst>
                <a:gd name="T0" fmla="*/ 0 w 2"/>
                <a:gd name="T1" fmla="*/ 3 h 3"/>
                <a:gd name="T2" fmla="*/ 1 w 2"/>
                <a:gd name="T3" fmla="*/ 1 h 3"/>
                <a:gd name="T4" fmla="*/ 2 w 2"/>
                <a:gd name="T5" fmla="*/ 0 h 3"/>
                <a:gd name="T6" fmla="*/ 1 w 2"/>
                <a:gd name="T7" fmla="*/ 1 h 3"/>
                <a:gd name="T8" fmla="*/ 0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9" name="Freeform 446">
              <a:extLst>
                <a:ext uri="{FF2B5EF4-FFF2-40B4-BE49-F238E27FC236}">
                  <a16:creationId xmlns:a16="http://schemas.microsoft.com/office/drawing/2014/main" id="{ADACAA57-7186-42A1-80E8-601E653CD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631951"/>
              <a:ext cx="26988" cy="11113"/>
            </a:xfrm>
            <a:custGeom>
              <a:avLst/>
              <a:gdLst>
                <a:gd name="T0" fmla="*/ 0 w 10"/>
                <a:gd name="T1" fmla="*/ 1 h 4"/>
                <a:gd name="T2" fmla="*/ 9 w 10"/>
                <a:gd name="T3" fmla="*/ 2 h 4"/>
                <a:gd name="T4" fmla="*/ 10 w 10"/>
                <a:gd name="T5" fmla="*/ 0 h 4"/>
                <a:gd name="T6" fmla="*/ 10 w 10"/>
                <a:gd name="T7" fmla="*/ 0 h 4"/>
                <a:gd name="T8" fmla="*/ 10 w 10"/>
                <a:gd name="T9" fmla="*/ 0 h 4"/>
                <a:gd name="T10" fmla="*/ 0 w 10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4">
                  <a:moveTo>
                    <a:pt x="0" y="1"/>
                  </a:moveTo>
                  <a:cubicBezTo>
                    <a:pt x="0" y="1"/>
                    <a:pt x="6" y="4"/>
                    <a:pt x="9" y="2"/>
                  </a:cubicBezTo>
                  <a:cubicBezTo>
                    <a:pt x="10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4"/>
                    <a:pt x="3" y="4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0" name="Freeform 447">
              <a:extLst>
                <a:ext uri="{FF2B5EF4-FFF2-40B4-BE49-F238E27FC236}">
                  <a16:creationId xmlns:a16="http://schemas.microsoft.com/office/drawing/2014/main" id="{DD6156F1-FF49-4CC1-BDF2-42D25B91C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1738" y="1576388"/>
              <a:ext cx="6350" cy="4763"/>
            </a:xfrm>
            <a:custGeom>
              <a:avLst/>
              <a:gdLst>
                <a:gd name="T0" fmla="*/ 0 w 2"/>
                <a:gd name="T1" fmla="*/ 1 h 2"/>
                <a:gd name="T2" fmla="*/ 1 w 2"/>
                <a:gd name="T3" fmla="*/ 1 h 2"/>
                <a:gd name="T4" fmla="*/ 2 w 2"/>
                <a:gd name="T5" fmla="*/ 2 h 2"/>
                <a:gd name="T6" fmla="*/ 0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1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1" name="Freeform 448">
              <a:extLst>
                <a:ext uri="{FF2B5EF4-FFF2-40B4-BE49-F238E27FC236}">
                  <a16:creationId xmlns:a16="http://schemas.microsoft.com/office/drawing/2014/main" id="{4A9096CB-7812-49E4-99A2-CDF16CE136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1413" y="1568451"/>
              <a:ext cx="90488" cy="282575"/>
            </a:xfrm>
            <a:custGeom>
              <a:avLst/>
              <a:gdLst>
                <a:gd name="T0" fmla="*/ 16 w 34"/>
                <a:gd name="T1" fmla="*/ 85 h 107"/>
                <a:gd name="T2" fmla="*/ 17 w 34"/>
                <a:gd name="T3" fmla="*/ 82 h 107"/>
                <a:gd name="T4" fmla="*/ 21 w 34"/>
                <a:gd name="T5" fmla="*/ 77 h 107"/>
                <a:gd name="T6" fmla="*/ 23 w 34"/>
                <a:gd name="T7" fmla="*/ 72 h 107"/>
                <a:gd name="T8" fmla="*/ 34 w 34"/>
                <a:gd name="T9" fmla="*/ 41 h 107"/>
                <a:gd name="T10" fmla="*/ 22 w 34"/>
                <a:gd name="T11" fmla="*/ 5 h 107"/>
                <a:gd name="T12" fmla="*/ 5 w 34"/>
                <a:gd name="T13" fmla="*/ 45 h 107"/>
                <a:gd name="T14" fmla="*/ 7 w 34"/>
                <a:gd name="T15" fmla="*/ 48 h 107"/>
                <a:gd name="T16" fmla="*/ 8 w 34"/>
                <a:gd name="T17" fmla="*/ 54 h 107"/>
                <a:gd name="T18" fmla="*/ 9 w 34"/>
                <a:gd name="T19" fmla="*/ 65 h 107"/>
                <a:gd name="T20" fmla="*/ 8 w 34"/>
                <a:gd name="T21" fmla="*/ 70 h 107"/>
                <a:gd name="T22" fmla="*/ 11 w 34"/>
                <a:gd name="T23" fmla="*/ 78 h 107"/>
                <a:gd name="T24" fmla="*/ 12 w 34"/>
                <a:gd name="T25" fmla="*/ 88 h 107"/>
                <a:gd name="T26" fmla="*/ 12 w 34"/>
                <a:gd name="T27" fmla="*/ 93 h 107"/>
                <a:gd name="T28" fmla="*/ 10 w 34"/>
                <a:gd name="T29" fmla="*/ 83 h 107"/>
                <a:gd name="T30" fmla="*/ 10 w 34"/>
                <a:gd name="T31" fmla="*/ 79 h 107"/>
                <a:gd name="T32" fmla="*/ 9 w 34"/>
                <a:gd name="T33" fmla="*/ 75 h 107"/>
                <a:gd name="T34" fmla="*/ 9 w 34"/>
                <a:gd name="T35" fmla="*/ 70 h 107"/>
                <a:gd name="T36" fmla="*/ 9 w 34"/>
                <a:gd name="T37" fmla="*/ 66 h 107"/>
                <a:gd name="T38" fmla="*/ 8 w 34"/>
                <a:gd name="T39" fmla="*/ 62 h 107"/>
                <a:gd name="T40" fmla="*/ 8 w 34"/>
                <a:gd name="T41" fmla="*/ 58 h 107"/>
                <a:gd name="T42" fmla="*/ 8 w 34"/>
                <a:gd name="T43" fmla="*/ 55 h 107"/>
                <a:gd name="T44" fmla="*/ 5 w 34"/>
                <a:gd name="T45" fmla="*/ 44 h 107"/>
                <a:gd name="T46" fmla="*/ 7 w 34"/>
                <a:gd name="T47" fmla="*/ 42 h 107"/>
                <a:gd name="T48" fmla="*/ 9 w 34"/>
                <a:gd name="T49" fmla="*/ 39 h 107"/>
                <a:gd name="T50" fmla="*/ 7 w 34"/>
                <a:gd name="T51" fmla="*/ 44 h 107"/>
                <a:gd name="T52" fmla="*/ 8 w 34"/>
                <a:gd name="T53" fmla="*/ 50 h 107"/>
                <a:gd name="T54" fmla="*/ 7 w 34"/>
                <a:gd name="T55" fmla="*/ 48 h 107"/>
                <a:gd name="T56" fmla="*/ 6 w 34"/>
                <a:gd name="T57" fmla="*/ 46 h 107"/>
                <a:gd name="T58" fmla="*/ 6 w 34"/>
                <a:gd name="T59" fmla="*/ 46 h 107"/>
                <a:gd name="T60" fmla="*/ 33 w 34"/>
                <a:gd name="T61" fmla="*/ 38 h 107"/>
                <a:gd name="T62" fmla="*/ 23 w 34"/>
                <a:gd name="T63" fmla="*/ 70 h 107"/>
                <a:gd name="T64" fmla="*/ 24 w 34"/>
                <a:gd name="T65" fmla="*/ 69 h 107"/>
                <a:gd name="T66" fmla="*/ 22 w 34"/>
                <a:gd name="T67" fmla="*/ 73 h 107"/>
                <a:gd name="T68" fmla="*/ 19 w 34"/>
                <a:gd name="T69" fmla="*/ 78 h 107"/>
                <a:gd name="T70" fmla="*/ 21 w 34"/>
                <a:gd name="T71" fmla="*/ 77 h 107"/>
                <a:gd name="T72" fmla="*/ 19 w 34"/>
                <a:gd name="T73" fmla="*/ 80 h 107"/>
                <a:gd name="T74" fmla="*/ 18 w 34"/>
                <a:gd name="T75" fmla="*/ 82 h 107"/>
                <a:gd name="T76" fmla="*/ 16 w 34"/>
                <a:gd name="T77" fmla="*/ 85 h 107"/>
                <a:gd name="T78" fmla="*/ 12 w 34"/>
                <a:gd name="T79" fmla="*/ 88 h 107"/>
                <a:gd name="T80" fmla="*/ 27 w 34"/>
                <a:gd name="T81" fmla="*/ 8 h 107"/>
                <a:gd name="T82" fmla="*/ 28 w 34"/>
                <a:gd name="T83" fmla="*/ 7 h 107"/>
                <a:gd name="T84" fmla="*/ 27 w 34"/>
                <a:gd name="T85" fmla="*/ 4 h 107"/>
                <a:gd name="T86" fmla="*/ 27 w 34"/>
                <a:gd name="T87" fmla="*/ 26 h 107"/>
                <a:gd name="T88" fmla="*/ 15 w 34"/>
                <a:gd name="T89" fmla="*/ 86 h 107"/>
                <a:gd name="T90" fmla="*/ 22 w 34"/>
                <a:gd name="T91" fmla="*/ 105 h 107"/>
                <a:gd name="T92" fmla="*/ 11 w 34"/>
                <a:gd name="T93" fmla="*/ 90 h 107"/>
                <a:gd name="T94" fmla="*/ 11 w 34"/>
                <a:gd name="T95" fmla="*/ 90 h 107"/>
                <a:gd name="T96" fmla="*/ 13 w 34"/>
                <a:gd name="T97" fmla="*/ 92 h 107"/>
                <a:gd name="T98" fmla="*/ 14 w 34"/>
                <a:gd name="T99" fmla="*/ 91 h 107"/>
                <a:gd name="T100" fmla="*/ 20 w 34"/>
                <a:gd name="T101" fmla="*/ 98 h 107"/>
                <a:gd name="T102" fmla="*/ 14 w 34"/>
                <a:gd name="T103" fmla="*/ 9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4" h="107">
                  <a:moveTo>
                    <a:pt x="22" y="107"/>
                  </a:moveTo>
                  <a:cubicBezTo>
                    <a:pt x="23" y="101"/>
                    <a:pt x="21" y="94"/>
                    <a:pt x="15" y="89"/>
                  </a:cubicBezTo>
                  <a:cubicBezTo>
                    <a:pt x="15" y="89"/>
                    <a:pt x="15" y="88"/>
                    <a:pt x="15" y="87"/>
                  </a:cubicBezTo>
                  <a:cubicBezTo>
                    <a:pt x="16" y="87"/>
                    <a:pt x="16" y="86"/>
                    <a:pt x="17" y="86"/>
                  </a:cubicBezTo>
                  <a:cubicBezTo>
                    <a:pt x="17" y="85"/>
                    <a:pt x="17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7" y="84"/>
                    <a:pt x="17" y="84"/>
                    <a:pt x="18" y="83"/>
                  </a:cubicBezTo>
                  <a:cubicBezTo>
                    <a:pt x="18" y="83"/>
                    <a:pt x="18" y="83"/>
                    <a:pt x="19" y="82"/>
                  </a:cubicBezTo>
                  <a:cubicBezTo>
                    <a:pt x="18" y="82"/>
                    <a:pt x="18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8" y="81"/>
                    <a:pt x="19" y="80"/>
                    <a:pt x="20" y="80"/>
                  </a:cubicBezTo>
                  <a:cubicBezTo>
                    <a:pt x="20" y="80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0" y="78"/>
                    <a:pt x="21" y="78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6"/>
                    <a:pt x="20" y="76"/>
                  </a:cubicBezTo>
                  <a:cubicBezTo>
                    <a:pt x="20" y="76"/>
                    <a:pt x="21" y="75"/>
                    <a:pt x="21" y="75"/>
                  </a:cubicBezTo>
                  <a:cubicBezTo>
                    <a:pt x="21" y="75"/>
                    <a:pt x="22" y="75"/>
                    <a:pt x="23" y="74"/>
                  </a:cubicBezTo>
                  <a:cubicBezTo>
                    <a:pt x="23" y="74"/>
                    <a:pt x="23" y="74"/>
                    <a:pt x="22" y="73"/>
                  </a:cubicBezTo>
                  <a:cubicBezTo>
                    <a:pt x="22" y="73"/>
                    <a:pt x="23" y="72"/>
                    <a:pt x="23" y="72"/>
                  </a:cubicBezTo>
                  <a:cubicBezTo>
                    <a:pt x="24" y="74"/>
                    <a:pt x="25" y="73"/>
                    <a:pt x="25" y="73"/>
                  </a:cubicBezTo>
                  <a:cubicBezTo>
                    <a:pt x="27" y="72"/>
                    <a:pt x="25" y="69"/>
                    <a:pt x="25" y="67"/>
                  </a:cubicBezTo>
                  <a:cubicBezTo>
                    <a:pt x="29" y="58"/>
                    <a:pt x="32" y="49"/>
                    <a:pt x="33" y="39"/>
                  </a:cubicBezTo>
                  <a:cubicBezTo>
                    <a:pt x="33" y="40"/>
                    <a:pt x="33" y="40"/>
                    <a:pt x="33" y="41"/>
                  </a:cubicBezTo>
                  <a:cubicBezTo>
                    <a:pt x="33" y="41"/>
                    <a:pt x="34" y="41"/>
                    <a:pt x="34" y="41"/>
                  </a:cubicBezTo>
                  <a:cubicBezTo>
                    <a:pt x="34" y="37"/>
                    <a:pt x="34" y="33"/>
                    <a:pt x="33" y="29"/>
                  </a:cubicBezTo>
                  <a:cubicBezTo>
                    <a:pt x="33" y="22"/>
                    <a:pt x="31" y="9"/>
                    <a:pt x="28" y="3"/>
                  </a:cubicBezTo>
                  <a:cubicBezTo>
                    <a:pt x="27" y="3"/>
                    <a:pt x="27" y="2"/>
                    <a:pt x="27" y="2"/>
                  </a:cubicBezTo>
                  <a:cubicBezTo>
                    <a:pt x="26" y="3"/>
                    <a:pt x="26" y="4"/>
                    <a:pt x="26" y="5"/>
                  </a:cubicBezTo>
                  <a:cubicBezTo>
                    <a:pt x="24" y="1"/>
                    <a:pt x="24" y="0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16" y="12"/>
                    <a:pt x="12" y="25"/>
                    <a:pt x="10" y="31"/>
                  </a:cubicBezTo>
                  <a:cubicBezTo>
                    <a:pt x="10" y="32"/>
                    <a:pt x="9" y="34"/>
                    <a:pt x="8" y="35"/>
                  </a:cubicBezTo>
                  <a:cubicBezTo>
                    <a:pt x="5" y="40"/>
                    <a:pt x="5" y="43"/>
                    <a:pt x="4" y="45"/>
                  </a:cubicBezTo>
                  <a:cubicBezTo>
                    <a:pt x="4" y="45"/>
                    <a:pt x="5" y="45"/>
                    <a:pt x="5" y="45"/>
                  </a:cubicBezTo>
                  <a:cubicBezTo>
                    <a:pt x="6" y="45"/>
                    <a:pt x="5" y="46"/>
                    <a:pt x="5" y="46"/>
                  </a:cubicBezTo>
                  <a:cubicBezTo>
                    <a:pt x="5" y="47"/>
                    <a:pt x="6" y="46"/>
                    <a:pt x="6" y="47"/>
                  </a:cubicBezTo>
                  <a:cubicBezTo>
                    <a:pt x="7" y="47"/>
                    <a:pt x="6" y="48"/>
                    <a:pt x="6" y="48"/>
                  </a:cubicBezTo>
                  <a:cubicBezTo>
                    <a:pt x="6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8" y="49"/>
                    <a:pt x="7" y="50"/>
                    <a:pt x="8" y="51"/>
                  </a:cubicBezTo>
                  <a:cubicBezTo>
                    <a:pt x="8" y="52"/>
                    <a:pt x="8" y="54"/>
                    <a:pt x="8" y="54"/>
                  </a:cubicBezTo>
                  <a:cubicBezTo>
                    <a:pt x="5" y="60"/>
                    <a:pt x="4" y="66"/>
                    <a:pt x="8" y="60"/>
                  </a:cubicBezTo>
                  <a:cubicBezTo>
                    <a:pt x="8" y="61"/>
                    <a:pt x="8" y="61"/>
                    <a:pt x="8" y="62"/>
                  </a:cubicBezTo>
                  <a:cubicBezTo>
                    <a:pt x="8" y="62"/>
                    <a:pt x="8" y="62"/>
                    <a:pt x="7" y="62"/>
                  </a:cubicBezTo>
                  <a:cubicBezTo>
                    <a:pt x="8" y="63"/>
                    <a:pt x="8" y="64"/>
                    <a:pt x="9" y="64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6"/>
                    <a:pt x="8" y="66"/>
                  </a:cubicBezTo>
                  <a:cubicBezTo>
                    <a:pt x="8" y="66"/>
                    <a:pt x="9" y="69"/>
                    <a:pt x="9" y="69"/>
                  </a:cubicBezTo>
                  <a:cubicBezTo>
                    <a:pt x="9" y="69"/>
                    <a:pt x="9" y="69"/>
                    <a:pt x="9" y="70"/>
                  </a:cubicBezTo>
                  <a:cubicBezTo>
                    <a:pt x="9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9" y="71"/>
                    <a:pt x="9" y="72"/>
                    <a:pt x="10" y="73"/>
                  </a:cubicBezTo>
                  <a:cubicBezTo>
                    <a:pt x="10" y="73"/>
                    <a:pt x="10" y="73"/>
                    <a:pt x="10" y="74"/>
                  </a:cubicBezTo>
                  <a:cubicBezTo>
                    <a:pt x="9" y="74"/>
                    <a:pt x="9" y="74"/>
                    <a:pt x="9" y="75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11" y="77"/>
                    <a:pt x="11" y="78"/>
                    <a:pt x="11" y="78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9"/>
                    <a:pt x="10" y="80"/>
                    <a:pt x="11" y="82"/>
                  </a:cubicBezTo>
                  <a:cubicBezTo>
                    <a:pt x="11" y="82"/>
                    <a:pt x="11" y="82"/>
                    <a:pt x="10" y="83"/>
                  </a:cubicBezTo>
                  <a:cubicBezTo>
                    <a:pt x="10" y="83"/>
                    <a:pt x="11" y="84"/>
                    <a:pt x="11" y="85"/>
                  </a:cubicBezTo>
                  <a:cubicBezTo>
                    <a:pt x="12" y="89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6" y="90"/>
                    <a:pt x="2" y="94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" y="97"/>
                    <a:pt x="8" y="94"/>
                    <a:pt x="12" y="93"/>
                  </a:cubicBezTo>
                  <a:cubicBezTo>
                    <a:pt x="17" y="97"/>
                    <a:pt x="20" y="102"/>
                    <a:pt x="22" y="107"/>
                  </a:cubicBezTo>
                  <a:close/>
                  <a:moveTo>
                    <a:pt x="11" y="82"/>
                  </a:moveTo>
                  <a:cubicBezTo>
                    <a:pt x="11" y="83"/>
                    <a:pt x="11" y="84"/>
                    <a:pt x="11" y="84"/>
                  </a:cubicBezTo>
                  <a:cubicBezTo>
                    <a:pt x="11" y="84"/>
                    <a:pt x="11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1" y="83"/>
                    <a:pt x="11" y="82"/>
                    <a:pt x="11" y="82"/>
                  </a:cubicBezTo>
                  <a:close/>
                  <a:moveTo>
                    <a:pt x="11" y="78"/>
                  </a:moveTo>
                  <a:cubicBezTo>
                    <a:pt x="11" y="79"/>
                    <a:pt x="11" y="80"/>
                    <a:pt x="11" y="81"/>
                  </a:cubicBezTo>
                  <a:cubicBezTo>
                    <a:pt x="11" y="80"/>
                    <a:pt x="10" y="79"/>
                    <a:pt x="1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79"/>
                    <a:pt x="10" y="79"/>
                    <a:pt x="11" y="78"/>
                  </a:cubicBezTo>
                  <a:close/>
                  <a:moveTo>
                    <a:pt x="10" y="74"/>
                  </a:moveTo>
                  <a:cubicBezTo>
                    <a:pt x="10" y="75"/>
                    <a:pt x="10" y="75"/>
                    <a:pt x="10" y="76"/>
                  </a:cubicBezTo>
                  <a:cubicBezTo>
                    <a:pt x="10" y="75"/>
                    <a:pt x="9" y="75"/>
                    <a:pt x="9" y="75"/>
                  </a:cubicBezTo>
                  <a:cubicBezTo>
                    <a:pt x="10" y="74"/>
                    <a:pt x="10" y="74"/>
                    <a:pt x="10" y="74"/>
                  </a:cubicBezTo>
                  <a:close/>
                  <a:moveTo>
                    <a:pt x="9" y="70"/>
                  </a:moveTo>
                  <a:cubicBezTo>
                    <a:pt x="9" y="71"/>
                    <a:pt x="10" y="71"/>
                    <a:pt x="10" y="72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9" y="71"/>
                    <a:pt x="9" y="70"/>
                    <a:pt x="9" y="70"/>
                  </a:cubicBezTo>
                  <a:cubicBezTo>
                    <a:pt x="9" y="71"/>
                    <a:pt x="9" y="70"/>
                    <a:pt x="9" y="70"/>
                  </a:cubicBezTo>
                  <a:close/>
                  <a:moveTo>
                    <a:pt x="9" y="66"/>
                  </a:moveTo>
                  <a:cubicBezTo>
                    <a:pt x="9" y="66"/>
                    <a:pt x="9" y="67"/>
                    <a:pt x="9" y="68"/>
                  </a:cubicBezTo>
                  <a:cubicBezTo>
                    <a:pt x="9" y="67"/>
                    <a:pt x="8" y="66"/>
                    <a:pt x="8" y="66"/>
                  </a:cubicBezTo>
                  <a:cubicBezTo>
                    <a:pt x="8" y="66"/>
                    <a:pt x="9" y="66"/>
                    <a:pt x="9" y="66"/>
                  </a:cubicBezTo>
                  <a:close/>
                  <a:moveTo>
                    <a:pt x="8" y="62"/>
                  </a:move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3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lose/>
                  <a:moveTo>
                    <a:pt x="8" y="55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7" y="59"/>
                    <a:pt x="6" y="60"/>
                    <a:pt x="6" y="60"/>
                  </a:cubicBezTo>
                  <a:cubicBezTo>
                    <a:pt x="7" y="58"/>
                    <a:pt x="8" y="57"/>
                    <a:pt x="8" y="57"/>
                  </a:cubicBezTo>
                  <a:cubicBezTo>
                    <a:pt x="8" y="57"/>
                    <a:pt x="8" y="58"/>
                    <a:pt x="8" y="58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0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60"/>
                    <a:pt x="7" y="61"/>
                    <a:pt x="7" y="61"/>
                  </a:cubicBezTo>
                  <a:cubicBezTo>
                    <a:pt x="4" y="65"/>
                    <a:pt x="7" y="57"/>
                    <a:pt x="8" y="55"/>
                  </a:cubicBezTo>
                  <a:close/>
                  <a:moveTo>
                    <a:pt x="10" y="33"/>
                  </a:moveTo>
                  <a:cubicBezTo>
                    <a:pt x="10" y="33"/>
                    <a:pt x="10" y="34"/>
                    <a:pt x="10" y="35"/>
                  </a:cubicBezTo>
                  <a:cubicBezTo>
                    <a:pt x="8" y="37"/>
                    <a:pt x="7" y="39"/>
                    <a:pt x="7" y="41"/>
                  </a:cubicBezTo>
                  <a:cubicBezTo>
                    <a:pt x="6" y="42"/>
                    <a:pt x="6" y="42"/>
                    <a:pt x="6" y="43"/>
                  </a:cubicBezTo>
                  <a:cubicBezTo>
                    <a:pt x="5" y="43"/>
                    <a:pt x="5" y="43"/>
                    <a:pt x="5" y="44"/>
                  </a:cubicBezTo>
                  <a:cubicBezTo>
                    <a:pt x="5" y="43"/>
                    <a:pt x="6" y="43"/>
                    <a:pt x="6" y="43"/>
                  </a:cubicBezTo>
                  <a:cubicBezTo>
                    <a:pt x="6" y="42"/>
                    <a:pt x="6" y="42"/>
                    <a:pt x="7" y="41"/>
                  </a:cubicBezTo>
                  <a:cubicBezTo>
                    <a:pt x="7" y="40"/>
                    <a:pt x="8" y="38"/>
                    <a:pt x="9" y="36"/>
                  </a:cubicBezTo>
                  <a:cubicBezTo>
                    <a:pt x="9" y="37"/>
                    <a:pt x="9" y="38"/>
                    <a:pt x="9" y="38"/>
                  </a:cubicBezTo>
                  <a:cubicBezTo>
                    <a:pt x="8" y="40"/>
                    <a:pt x="7" y="41"/>
                    <a:pt x="7" y="42"/>
                  </a:cubicBezTo>
                  <a:cubicBezTo>
                    <a:pt x="7" y="43"/>
                    <a:pt x="6" y="43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3"/>
                    <a:pt x="7" y="43"/>
                    <a:pt x="7" y="42"/>
                  </a:cubicBezTo>
                  <a:cubicBezTo>
                    <a:pt x="8" y="41"/>
                    <a:pt x="8" y="40"/>
                    <a:pt x="9" y="39"/>
                  </a:cubicBezTo>
                  <a:cubicBezTo>
                    <a:pt x="9" y="40"/>
                    <a:pt x="9" y="41"/>
                    <a:pt x="9" y="41"/>
                  </a:cubicBezTo>
                  <a:cubicBezTo>
                    <a:pt x="8" y="42"/>
                    <a:pt x="8" y="43"/>
                    <a:pt x="7" y="44"/>
                  </a:cubicBezTo>
                  <a:cubicBezTo>
                    <a:pt x="7" y="44"/>
                    <a:pt x="7" y="45"/>
                    <a:pt x="7" y="45"/>
                  </a:cubicBezTo>
                  <a:cubicBezTo>
                    <a:pt x="7" y="45"/>
                    <a:pt x="6" y="45"/>
                    <a:pt x="6" y="45"/>
                  </a:cubicBezTo>
                  <a:cubicBezTo>
                    <a:pt x="6" y="45"/>
                    <a:pt x="7" y="45"/>
                    <a:pt x="7" y="44"/>
                  </a:cubicBezTo>
                  <a:cubicBezTo>
                    <a:pt x="8" y="43"/>
                    <a:pt x="8" y="43"/>
                    <a:pt x="9" y="42"/>
                  </a:cubicBezTo>
                  <a:cubicBezTo>
                    <a:pt x="8" y="43"/>
                    <a:pt x="8" y="44"/>
                    <a:pt x="8" y="45"/>
                  </a:cubicBezTo>
                  <a:cubicBezTo>
                    <a:pt x="8" y="45"/>
                    <a:pt x="7" y="46"/>
                    <a:pt x="7" y="46"/>
                  </a:cubicBezTo>
                  <a:cubicBezTo>
                    <a:pt x="7" y="46"/>
                    <a:pt x="8" y="46"/>
                    <a:pt x="8" y="45"/>
                  </a:cubicBezTo>
                  <a:cubicBezTo>
                    <a:pt x="8" y="47"/>
                    <a:pt x="8" y="48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49"/>
                    <a:pt x="8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7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5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2"/>
                    <a:pt x="6" y="40"/>
                    <a:pt x="10" y="33"/>
                  </a:cubicBezTo>
                  <a:close/>
                  <a:moveTo>
                    <a:pt x="33" y="40"/>
                  </a:moveTo>
                  <a:cubicBezTo>
                    <a:pt x="33" y="40"/>
                    <a:pt x="33" y="38"/>
                    <a:pt x="33" y="38"/>
                  </a:cubicBezTo>
                  <a:cubicBezTo>
                    <a:pt x="33" y="36"/>
                    <a:pt x="33" y="31"/>
                    <a:pt x="33" y="31"/>
                  </a:cubicBezTo>
                  <a:cubicBezTo>
                    <a:pt x="33" y="32"/>
                    <a:pt x="34" y="36"/>
                    <a:pt x="34" y="40"/>
                  </a:cubicBezTo>
                  <a:cubicBezTo>
                    <a:pt x="34" y="40"/>
                    <a:pt x="34" y="40"/>
                    <a:pt x="33" y="40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0"/>
                    <a:pt x="23" y="70"/>
                  </a:cubicBezTo>
                  <a:cubicBezTo>
                    <a:pt x="24" y="71"/>
                    <a:pt x="25" y="72"/>
                    <a:pt x="25" y="72"/>
                  </a:cubicBezTo>
                  <a:cubicBezTo>
                    <a:pt x="24" y="71"/>
                    <a:pt x="25" y="73"/>
                    <a:pt x="24" y="70"/>
                  </a:cubicBezTo>
                  <a:cubicBezTo>
                    <a:pt x="24" y="70"/>
                    <a:pt x="24" y="69"/>
                    <a:pt x="24" y="69"/>
                  </a:cubicBezTo>
                  <a:cubicBezTo>
                    <a:pt x="25" y="71"/>
                    <a:pt x="25" y="72"/>
                    <a:pt x="25" y="72"/>
                  </a:cubicBezTo>
                  <a:cubicBezTo>
                    <a:pt x="24" y="67"/>
                    <a:pt x="24" y="69"/>
                    <a:pt x="24" y="69"/>
                  </a:cubicBezTo>
                  <a:cubicBezTo>
                    <a:pt x="24" y="68"/>
                    <a:pt x="24" y="68"/>
                    <a:pt x="25" y="68"/>
                  </a:cubicBezTo>
                  <a:cubicBezTo>
                    <a:pt x="25" y="69"/>
                    <a:pt x="25" y="71"/>
                    <a:pt x="25" y="72"/>
                  </a:cubicBezTo>
                  <a:cubicBezTo>
                    <a:pt x="25" y="73"/>
                    <a:pt x="24" y="72"/>
                    <a:pt x="23" y="71"/>
                  </a:cubicBezTo>
                  <a:close/>
                  <a:moveTo>
                    <a:pt x="21" y="75"/>
                  </a:moveTo>
                  <a:cubicBezTo>
                    <a:pt x="21" y="74"/>
                    <a:pt x="22" y="74"/>
                    <a:pt x="22" y="73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4"/>
                    <a:pt x="21" y="74"/>
                    <a:pt x="21" y="75"/>
                  </a:cubicBezTo>
                  <a:close/>
                  <a:moveTo>
                    <a:pt x="19" y="78"/>
                  </a:moveTo>
                  <a:cubicBezTo>
                    <a:pt x="20" y="77"/>
                    <a:pt x="20" y="77"/>
                    <a:pt x="20" y="76"/>
                  </a:cubicBezTo>
                  <a:cubicBezTo>
                    <a:pt x="20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0" y="77"/>
                    <a:pt x="20" y="77"/>
                    <a:pt x="19" y="78"/>
                  </a:cubicBezTo>
                  <a:close/>
                  <a:moveTo>
                    <a:pt x="18" y="81"/>
                  </a:moveTo>
                  <a:cubicBezTo>
                    <a:pt x="18" y="80"/>
                    <a:pt x="18" y="80"/>
                    <a:pt x="19" y="79"/>
                  </a:cubicBezTo>
                  <a:cubicBezTo>
                    <a:pt x="19" y="79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8" y="81"/>
                    <a:pt x="18" y="81"/>
                  </a:cubicBezTo>
                  <a:close/>
                  <a:moveTo>
                    <a:pt x="17" y="84"/>
                  </a:moveTo>
                  <a:cubicBezTo>
                    <a:pt x="17" y="83"/>
                    <a:pt x="17" y="83"/>
                    <a:pt x="17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3"/>
                    <a:pt x="17" y="83"/>
                    <a:pt x="17" y="84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5"/>
                    <a:pt x="16" y="85"/>
                  </a:cubicBezTo>
                  <a:cubicBezTo>
                    <a:pt x="17" y="85"/>
                    <a:pt x="16" y="85"/>
                    <a:pt x="16" y="86"/>
                  </a:cubicBezTo>
                  <a:close/>
                  <a:moveTo>
                    <a:pt x="14" y="90"/>
                  </a:moveTo>
                  <a:cubicBezTo>
                    <a:pt x="14" y="90"/>
                    <a:pt x="14" y="91"/>
                    <a:pt x="13" y="91"/>
                  </a:cubicBezTo>
                  <a:cubicBezTo>
                    <a:pt x="12" y="91"/>
                    <a:pt x="12" y="91"/>
                    <a:pt x="12" y="90"/>
                  </a:cubicBezTo>
                  <a:cubicBezTo>
                    <a:pt x="12" y="89"/>
                    <a:pt x="12" y="88"/>
                    <a:pt x="12" y="88"/>
                  </a:cubicBezTo>
                  <a:cubicBezTo>
                    <a:pt x="12" y="86"/>
                    <a:pt x="12" y="85"/>
                    <a:pt x="12" y="84"/>
                  </a:cubicBezTo>
                  <a:cubicBezTo>
                    <a:pt x="11" y="73"/>
                    <a:pt x="6" y="58"/>
                    <a:pt x="10" y="37"/>
                  </a:cubicBezTo>
                  <a:cubicBezTo>
                    <a:pt x="13" y="23"/>
                    <a:pt x="19" y="9"/>
                    <a:pt x="23" y="3"/>
                  </a:cubicBezTo>
                  <a:cubicBezTo>
                    <a:pt x="23" y="3"/>
                    <a:pt x="24" y="2"/>
                    <a:pt x="24" y="3"/>
                  </a:cubicBezTo>
                  <a:cubicBezTo>
                    <a:pt x="25" y="3"/>
                    <a:pt x="27" y="7"/>
                    <a:pt x="27" y="8"/>
                  </a:cubicBezTo>
                  <a:cubicBezTo>
                    <a:pt x="27" y="9"/>
                    <a:pt x="28" y="9"/>
                    <a:pt x="27" y="9"/>
                  </a:cubicBezTo>
                  <a:cubicBezTo>
                    <a:pt x="26" y="10"/>
                    <a:pt x="25" y="7"/>
                    <a:pt x="25" y="6"/>
                  </a:cubicBezTo>
                  <a:cubicBezTo>
                    <a:pt x="25" y="7"/>
                    <a:pt x="25" y="9"/>
                    <a:pt x="26" y="10"/>
                  </a:cubicBezTo>
                  <a:cubicBezTo>
                    <a:pt x="27" y="11"/>
                    <a:pt x="28" y="10"/>
                    <a:pt x="28" y="9"/>
                  </a:cubicBezTo>
                  <a:cubicBezTo>
                    <a:pt x="28" y="8"/>
                    <a:pt x="28" y="7"/>
                    <a:pt x="28" y="7"/>
                  </a:cubicBezTo>
                  <a:cubicBezTo>
                    <a:pt x="27" y="6"/>
                    <a:pt x="27" y="5"/>
                    <a:pt x="27" y="4"/>
                  </a:cubicBezTo>
                  <a:cubicBezTo>
                    <a:pt x="27" y="4"/>
                    <a:pt x="27" y="5"/>
                    <a:pt x="27" y="7"/>
                  </a:cubicBezTo>
                  <a:cubicBezTo>
                    <a:pt x="27" y="6"/>
                    <a:pt x="27" y="4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8" y="5"/>
                    <a:pt x="28" y="6"/>
                    <a:pt x="29" y="7"/>
                  </a:cubicBezTo>
                  <a:cubicBezTo>
                    <a:pt x="30" y="11"/>
                    <a:pt x="31" y="14"/>
                    <a:pt x="31" y="18"/>
                  </a:cubicBezTo>
                  <a:cubicBezTo>
                    <a:pt x="31" y="20"/>
                    <a:pt x="31" y="23"/>
                    <a:pt x="29" y="25"/>
                  </a:cubicBezTo>
                  <a:cubicBezTo>
                    <a:pt x="27" y="27"/>
                    <a:pt x="22" y="24"/>
                    <a:pt x="19" y="21"/>
                  </a:cubicBezTo>
                  <a:cubicBezTo>
                    <a:pt x="20" y="24"/>
                    <a:pt x="24" y="26"/>
                    <a:pt x="27" y="26"/>
                  </a:cubicBezTo>
                  <a:cubicBezTo>
                    <a:pt x="30" y="26"/>
                    <a:pt x="31" y="24"/>
                    <a:pt x="32" y="21"/>
                  </a:cubicBezTo>
                  <a:cubicBezTo>
                    <a:pt x="33" y="36"/>
                    <a:pt x="32" y="49"/>
                    <a:pt x="24" y="67"/>
                  </a:cubicBezTo>
                  <a:cubicBezTo>
                    <a:pt x="23" y="70"/>
                    <a:pt x="22" y="72"/>
                    <a:pt x="20" y="75"/>
                  </a:cubicBezTo>
                  <a:cubicBezTo>
                    <a:pt x="19" y="77"/>
                    <a:pt x="18" y="79"/>
                    <a:pt x="17" y="81"/>
                  </a:cubicBezTo>
                  <a:cubicBezTo>
                    <a:pt x="16" y="83"/>
                    <a:pt x="16" y="84"/>
                    <a:pt x="15" y="86"/>
                  </a:cubicBezTo>
                  <a:cubicBezTo>
                    <a:pt x="15" y="87"/>
                    <a:pt x="15" y="87"/>
                    <a:pt x="14" y="88"/>
                  </a:cubicBezTo>
                  <a:cubicBezTo>
                    <a:pt x="14" y="88"/>
                    <a:pt x="14" y="89"/>
                    <a:pt x="14" y="89"/>
                  </a:cubicBezTo>
                  <a:cubicBezTo>
                    <a:pt x="14" y="89"/>
                    <a:pt x="14" y="89"/>
                    <a:pt x="14" y="90"/>
                  </a:cubicBezTo>
                  <a:close/>
                  <a:moveTo>
                    <a:pt x="20" y="96"/>
                  </a:moveTo>
                  <a:cubicBezTo>
                    <a:pt x="21" y="99"/>
                    <a:pt x="22" y="105"/>
                    <a:pt x="22" y="105"/>
                  </a:cubicBezTo>
                  <a:cubicBezTo>
                    <a:pt x="21" y="102"/>
                    <a:pt x="16" y="95"/>
                    <a:pt x="12" y="93"/>
                  </a:cubicBezTo>
                  <a:cubicBezTo>
                    <a:pt x="9" y="93"/>
                    <a:pt x="4" y="95"/>
                    <a:pt x="1" y="98"/>
                  </a:cubicBezTo>
                  <a:cubicBezTo>
                    <a:pt x="3" y="94"/>
                    <a:pt x="7" y="91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9" y="90"/>
                    <a:pt x="7" y="92"/>
                  </a:cubicBezTo>
                  <a:cubicBezTo>
                    <a:pt x="4" y="94"/>
                    <a:pt x="3" y="96"/>
                    <a:pt x="3" y="96"/>
                  </a:cubicBezTo>
                  <a:cubicBezTo>
                    <a:pt x="5" y="94"/>
                    <a:pt x="6" y="93"/>
                    <a:pt x="7" y="92"/>
                  </a:cubicBezTo>
                  <a:cubicBezTo>
                    <a:pt x="8" y="92"/>
                    <a:pt x="10" y="90"/>
                    <a:pt x="11" y="90"/>
                  </a:cubicBezTo>
                  <a:cubicBezTo>
                    <a:pt x="11" y="90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6" y="93"/>
                    <a:pt x="4" y="96"/>
                    <a:pt x="4" y="96"/>
                  </a:cubicBezTo>
                  <a:cubicBezTo>
                    <a:pt x="7" y="94"/>
                    <a:pt x="11" y="92"/>
                    <a:pt x="12" y="92"/>
                  </a:cubicBezTo>
                  <a:cubicBezTo>
                    <a:pt x="12" y="92"/>
                    <a:pt x="12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6" y="95"/>
                    <a:pt x="17" y="95"/>
                    <a:pt x="20" y="100"/>
                  </a:cubicBezTo>
                  <a:cubicBezTo>
                    <a:pt x="19" y="100"/>
                    <a:pt x="18" y="96"/>
                    <a:pt x="14" y="92"/>
                  </a:cubicBezTo>
                  <a:cubicBezTo>
                    <a:pt x="14" y="92"/>
                    <a:pt x="14" y="92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5" y="92"/>
                    <a:pt x="19" y="96"/>
                    <a:pt x="20" y="98"/>
                  </a:cubicBezTo>
                  <a:cubicBezTo>
                    <a:pt x="20" y="99"/>
                    <a:pt x="20" y="100"/>
                    <a:pt x="20" y="100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21" y="101"/>
                    <a:pt x="21" y="101"/>
                    <a:pt x="21" y="100"/>
                  </a:cubicBezTo>
                  <a:cubicBezTo>
                    <a:pt x="20" y="99"/>
                    <a:pt x="20" y="99"/>
                    <a:pt x="20" y="98"/>
                  </a:cubicBezTo>
                  <a:cubicBezTo>
                    <a:pt x="19" y="97"/>
                    <a:pt x="18" y="95"/>
                    <a:pt x="17" y="94"/>
                  </a:cubicBezTo>
                  <a:cubicBezTo>
                    <a:pt x="17" y="94"/>
                    <a:pt x="16" y="93"/>
                    <a:pt x="16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4" y="91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7" y="92"/>
                    <a:pt x="19" y="94"/>
                    <a:pt x="20" y="9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2" name="Freeform 449">
              <a:extLst>
                <a:ext uri="{FF2B5EF4-FFF2-40B4-BE49-F238E27FC236}">
                  <a16:creationId xmlns:a16="http://schemas.microsoft.com/office/drawing/2014/main" id="{73E500C8-4E63-43C7-830C-16613C8BB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3163" y="1639888"/>
              <a:ext cx="11113" cy="115888"/>
            </a:xfrm>
            <a:custGeom>
              <a:avLst/>
              <a:gdLst>
                <a:gd name="T0" fmla="*/ 1 w 4"/>
                <a:gd name="T1" fmla="*/ 39 h 44"/>
                <a:gd name="T2" fmla="*/ 0 w 4"/>
                <a:gd name="T3" fmla="*/ 32 h 44"/>
                <a:gd name="T4" fmla="*/ 1 w 4"/>
                <a:gd name="T5" fmla="*/ 21 h 44"/>
                <a:gd name="T6" fmla="*/ 2 w 4"/>
                <a:gd name="T7" fmla="*/ 10 h 44"/>
                <a:gd name="T8" fmla="*/ 2 w 4"/>
                <a:gd name="T9" fmla="*/ 8 h 44"/>
                <a:gd name="T10" fmla="*/ 3 w 4"/>
                <a:gd name="T11" fmla="*/ 6 h 44"/>
                <a:gd name="T12" fmla="*/ 3 w 4"/>
                <a:gd name="T13" fmla="*/ 3 h 44"/>
                <a:gd name="T14" fmla="*/ 4 w 4"/>
                <a:gd name="T15" fmla="*/ 1 h 44"/>
                <a:gd name="T16" fmla="*/ 4 w 4"/>
                <a:gd name="T17" fmla="*/ 0 h 44"/>
                <a:gd name="T18" fmla="*/ 4 w 4"/>
                <a:gd name="T19" fmla="*/ 0 h 44"/>
                <a:gd name="T20" fmla="*/ 4 w 4"/>
                <a:gd name="T21" fmla="*/ 1 h 44"/>
                <a:gd name="T22" fmla="*/ 3 w 4"/>
                <a:gd name="T23" fmla="*/ 4 h 44"/>
                <a:gd name="T24" fmla="*/ 1 w 4"/>
                <a:gd name="T25" fmla="*/ 21 h 44"/>
                <a:gd name="T26" fmla="*/ 1 w 4"/>
                <a:gd name="T27" fmla="*/ 32 h 44"/>
                <a:gd name="T28" fmla="*/ 1 w 4"/>
                <a:gd name="T29" fmla="*/ 39 h 44"/>
                <a:gd name="T30" fmla="*/ 1 w 4"/>
                <a:gd name="T31" fmla="*/ 43 h 44"/>
                <a:gd name="T32" fmla="*/ 1 w 4"/>
                <a:gd name="T33" fmla="*/ 44 h 44"/>
                <a:gd name="T34" fmla="*/ 1 w 4"/>
                <a:gd name="T35" fmla="*/ 43 h 44"/>
                <a:gd name="T36" fmla="*/ 1 w 4"/>
                <a:gd name="T37" fmla="*/ 3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" h="44">
                  <a:moveTo>
                    <a:pt x="1" y="39"/>
                  </a:moveTo>
                  <a:cubicBezTo>
                    <a:pt x="1" y="37"/>
                    <a:pt x="0" y="35"/>
                    <a:pt x="0" y="32"/>
                  </a:cubicBezTo>
                  <a:cubicBezTo>
                    <a:pt x="0" y="29"/>
                    <a:pt x="0" y="25"/>
                    <a:pt x="1" y="21"/>
                  </a:cubicBezTo>
                  <a:cubicBezTo>
                    <a:pt x="1" y="16"/>
                    <a:pt x="2" y="13"/>
                    <a:pt x="2" y="10"/>
                  </a:cubicBezTo>
                  <a:cubicBezTo>
                    <a:pt x="2" y="9"/>
                    <a:pt x="2" y="8"/>
                    <a:pt x="2" y="8"/>
                  </a:cubicBezTo>
                  <a:cubicBezTo>
                    <a:pt x="2" y="7"/>
                    <a:pt x="3" y="7"/>
                    <a:pt x="3" y="6"/>
                  </a:cubicBezTo>
                  <a:cubicBezTo>
                    <a:pt x="3" y="5"/>
                    <a:pt x="3" y="4"/>
                    <a:pt x="3" y="3"/>
                  </a:cubicBezTo>
                  <a:cubicBezTo>
                    <a:pt x="3" y="3"/>
                    <a:pt x="4" y="2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1"/>
                    <a:pt x="4" y="2"/>
                    <a:pt x="3" y="4"/>
                  </a:cubicBezTo>
                  <a:cubicBezTo>
                    <a:pt x="3" y="7"/>
                    <a:pt x="2" y="13"/>
                    <a:pt x="1" y="21"/>
                  </a:cubicBezTo>
                  <a:cubicBezTo>
                    <a:pt x="1" y="25"/>
                    <a:pt x="1" y="29"/>
                    <a:pt x="1" y="32"/>
                  </a:cubicBezTo>
                  <a:cubicBezTo>
                    <a:pt x="1" y="35"/>
                    <a:pt x="1" y="37"/>
                    <a:pt x="1" y="39"/>
                  </a:cubicBezTo>
                  <a:cubicBezTo>
                    <a:pt x="1" y="41"/>
                    <a:pt x="1" y="42"/>
                    <a:pt x="1" y="43"/>
                  </a:cubicBezTo>
                  <a:cubicBezTo>
                    <a:pt x="1" y="43"/>
                    <a:pt x="1" y="44"/>
                    <a:pt x="1" y="44"/>
                  </a:cubicBezTo>
                  <a:cubicBezTo>
                    <a:pt x="1" y="44"/>
                    <a:pt x="1" y="43"/>
                    <a:pt x="1" y="43"/>
                  </a:cubicBezTo>
                  <a:cubicBezTo>
                    <a:pt x="1" y="42"/>
                    <a:pt x="1" y="41"/>
                    <a:pt x="1" y="3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3" name="Freeform 450">
              <a:extLst>
                <a:ext uri="{FF2B5EF4-FFF2-40B4-BE49-F238E27FC236}">
                  <a16:creationId xmlns:a16="http://schemas.microsoft.com/office/drawing/2014/main" id="{188E4A62-D69E-4903-95EE-41D5B557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4913" y="1658938"/>
              <a:ext cx="15875" cy="73025"/>
            </a:xfrm>
            <a:custGeom>
              <a:avLst/>
              <a:gdLst>
                <a:gd name="T0" fmla="*/ 2 w 6"/>
                <a:gd name="T1" fmla="*/ 21 h 28"/>
                <a:gd name="T2" fmla="*/ 4 w 6"/>
                <a:gd name="T3" fmla="*/ 14 h 28"/>
                <a:gd name="T4" fmla="*/ 5 w 6"/>
                <a:gd name="T5" fmla="*/ 7 h 28"/>
                <a:gd name="T6" fmla="*/ 5 w 6"/>
                <a:gd name="T7" fmla="*/ 6 h 28"/>
                <a:gd name="T8" fmla="*/ 6 w 6"/>
                <a:gd name="T9" fmla="*/ 5 h 28"/>
                <a:gd name="T10" fmla="*/ 6 w 6"/>
                <a:gd name="T11" fmla="*/ 3 h 28"/>
                <a:gd name="T12" fmla="*/ 6 w 6"/>
                <a:gd name="T13" fmla="*/ 1 h 28"/>
                <a:gd name="T14" fmla="*/ 6 w 6"/>
                <a:gd name="T15" fmla="*/ 0 h 28"/>
                <a:gd name="T16" fmla="*/ 6 w 6"/>
                <a:gd name="T17" fmla="*/ 1 h 28"/>
                <a:gd name="T18" fmla="*/ 6 w 6"/>
                <a:gd name="T19" fmla="*/ 3 h 28"/>
                <a:gd name="T20" fmla="*/ 4 w 6"/>
                <a:gd name="T21" fmla="*/ 14 h 28"/>
                <a:gd name="T22" fmla="*/ 3 w 6"/>
                <a:gd name="T23" fmla="*/ 21 h 28"/>
                <a:gd name="T24" fmla="*/ 1 w 6"/>
                <a:gd name="T25" fmla="*/ 26 h 28"/>
                <a:gd name="T26" fmla="*/ 0 w 6"/>
                <a:gd name="T27" fmla="*/ 28 h 28"/>
                <a:gd name="T28" fmla="*/ 0 w 6"/>
                <a:gd name="T29" fmla="*/ 28 h 28"/>
                <a:gd name="T30" fmla="*/ 0 w 6"/>
                <a:gd name="T31" fmla="*/ 28 h 28"/>
                <a:gd name="T32" fmla="*/ 1 w 6"/>
                <a:gd name="T33" fmla="*/ 25 h 28"/>
                <a:gd name="T34" fmla="*/ 2 w 6"/>
                <a:gd name="T35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28">
                  <a:moveTo>
                    <a:pt x="2" y="21"/>
                  </a:moveTo>
                  <a:cubicBezTo>
                    <a:pt x="3" y="19"/>
                    <a:pt x="3" y="17"/>
                    <a:pt x="4" y="14"/>
                  </a:cubicBezTo>
                  <a:cubicBezTo>
                    <a:pt x="5" y="11"/>
                    <a:pt x="5" y="9"/>
                    <a:pt x="5" y="7"/>
                  </a:cubicBezTo>
                  <a:cubicBezTo>
                    <a:pt x="5" y="7"/>
                    <a:pt x="5" y="6"/>
                    <a:pt x="5" y="6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6" y="1"/>
                    <a:pt x="6" y="2"/>
                    <a:pt x="6" y="3"/>
                  </a:cubicBezTo>
                  <a:cubicBezTo>
                    <a:pt x="6" y="5"/>
                    <a:pt x="6" y="9"/>
                    <a:pt x="4" y="14"/>
                  </a:cubicBezTo>
                  <a:cubicBezTo>
                    <a:pt x="4" y="17"/>
                    <a:pt x="3" y="19"/>
                    <a:pt x="3" y="21"/>
                  </a:cubicBezTo>
                  <a:cubicBezTo>
                    <a:pt x="2" y="23"/>
                    <a:pt x="2" y="25"/>
                    <a:pt x="1" y="26"/>
                  </a:cubicBezTo>
                  <a:cubicBezTo>
                    <a:pt x="1" y="27"/>
                    <a:pt x="1" y="27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7"/>
                    <a:pt x="1" y="27"/>
                    <a:pt x="1" y="25"/>
                  </a:cubicBezTo>
                  <a:cubicBezTo>
                    <a:pt x="1" y="24"/>
                    <a:pt x="2" y="23"/>
                    <a:pt x="2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4" name="Freeform 451">
              <a:extLst>
                <a:ext uri="{FF2B5EF4-FFF2-40B4-BE49-F238E27FC236}">
                  <a16:creationId xmlns:a16="http://schemas.microsoft.com/office/drawing/2014/main" id="{246707D7-2DD5-4FA4-BCC8-0736E6EA5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863" y="1692276"/>
              <a:ext cx="7938" cy="42863"/>
            </a:xfrm>
            <a:custGeom>
              <a:avLst/>
              <a:gdLst>
                <a:gd name="T0" fmla="*/ 1 w 3"/>
                <a:gd name="T1" fmla="*/ 7 h 16"/>
                <a:gd name="T2" fmla="*/ 3 w 3"/>
                <a:gd name="T3" fmla="*/ 0 h 16"/>
                <a:gd name="T4" fmla="*/ 2 w 3"/>
                <a:gd name="T5" fmla="*/ 8 h 16"/>
                <a:gd name="T6" fmla="*/ 0 w 3"/>
                <a:gd name="T7" fmla="*/ 16 h 16"/>
                <a:gd name="T8" fmla="*/ 1 w 3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6">
                  <a:moveTo>
                    <a:pt x="1" y="7"/>
                  </a:move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2" y="1"/>
                    <a:pt x="2" y="8"/>
                  </a:cubicBezTo>
                  <a:cubicBezTo>
                    <a:pt x="1" y="14"/>
                    <a:pt x="0" y="16"/>
                    <a:pt x="0" y="16"/>
                  </a:cubicBezTo>
                  <a:cubicBezTo>
                    <a:pt x="0" y="16"/>
                    <a:pt x="0" y="14"/>
                    <a:pt x="1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5" name="Freeform 452">
              <a:extLst>
                <a:ext uri="{FF2B5EF4-FFF2-40B4-BE49-F238E27FC236}">
                  <a16:creationId xmlns:a16="http://schemas.microsoft.com/office/drawing/2014/main" id="{C19FC743-11E2-43CB-AE85-6EAA0C4B7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2050" y="1581151"/>
              <a:ext cx="39688" cy="228600"/>
            </a:xfrm>
            <a:custGeom>
              <a:avLst/>
              <a:gdLst>
                <a:gd name="T0" fmla="*/ 5 w 15"/>
                <a:gd name="T1" fmla="*/ 86 h 86"/>
                <a:gd name="T2" fmla="*/ 4 w 15"/>
                <a:gd name="T3" fmla="*/ 85 h 86"/>
                <a:gd name="T4" fmla="*/ 4 w 15"/>
                <a:gd name="T5" fmla="*/ 84 h 86"/>
                <a:gd name="T6" fmla="*/ 4 w 15"/>
                <a:gd name="T7" fmla="*/ 83 h 86"/>
                <a:gd name="T8" fmla="*/ 4 w 15"/>
                <a:gd name="T9" fmla="*/ 81 h 86"/>
                <a:gd name="T10" fmla="*/ 3 w 15"/>
                <a:gd name="T11" fmla="*/ 64 h 86"/>
                <a:gd name="T12" fmla="*/ 2 w 15"/>
                <a:gd name="T13" fmla="*/ 60 h 86"/>
                <a:gd name="T14" fmla="*/ 15 w 15"/>
                <a:gd name="T15" fmla="*/ 0 h 86"/>
                <a:gd name="T16" fmla="*/ 5 w 15"/>
                <a:gd name="T17" fmla="*/ 25 h 86"/>
                <a:gd name="T18" fmla="*/ 3 w 15"/>
                <a:gd name="T19" fmla="*/ 40 h 86"/>
                <a:gd name="T20" fmla="*/ 2 w 15"/>
                <a:gd name="T21" fmla="*/ 53 h 86"/>
                <a:gd name="T22" fmla="*/ 3 w 15"/>
                <a:gd name="T23" fmla="*/ 66 h 86"/>
                <a:gd name="T24" fmla="*/ 4 w 15"/>
                <a:gd name="T25" fmla="*/ 74 h 86"/>
                <a:gd name="T26" fmla="*/ 5 w 15"/>
                <a:gd name="T27" fmla="*/ 79 h 86"/>
                <a:gd name="T28" fmla="*/ 4 w 15"/>
                <a:gd name="T29" fmla="*/ 84 h 86"/>
                <a:gd name="T30" fmla="*/ 5 w 15"/>
                <a:gd name="T31" fmla="*/ 85 h 86"/>
                <a:gd name="T32" fmla="*/ 5 w 15"/>
                <a:gd name="T33" fmla="*/ 84 h 86"/>
                <a:gd name="T34" fmla="*/ 6 w 15"/>
                <a:gd name="T35" fmla="*/ 81 h 86"/>
                <a:gd name="T36" fmla="*/ 8 w 15"/>
                <a:gd name="T37" fmla="*/ 77 h 86"/>
                <a:gd name="T38" fmla="*/ 8 w 15"/>
                <a:gd name="T39" fmla="*/ 77 h 86"/>
                <a:gd name="T40" fmla="*/ 8 w 15"/>
                <a:gd name="T41" fmla="*/ 78 h 86"/>
                <a:gd name="T42" fmla="*/ 7 w 15"/>
                <a:gd name="T43" fmla="*/ 81 h 86"/>
                <a:gd name="T44" fmla="*/ 6 w 15"/>
                <a:gd name="T45" fmla="*/ 84 h 86"/>
                <a:gd name="T46" fmla="*/ 5 w 15"/>
                <a:gd name="T4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" h="86">
                  <a:moveTo>
                    <a:pt x="5" y="86"/>
                  </a:moveTo>
                  <a:cubicBezTo>
                    <a:pt x="5" y="86"/>
                    <a:pt x="5" y="86"/>
                    <a:pt x="4" y="85"/>
                  </a:cubicBezTo>
                  <a:cubicBezTo>
                    <a:pt x="4" y="85"/>
                    <a:pt x="4" y="85"/>
                    <a:pt x="4" y="84"/>
                  </a:cubicBezTo>
                  <a:cubicBezTo>
                    <a:pt x="4" y="84"/>
                    <a:pt x="4" y="83"/>
                    <a:pt x="4" y="83"/>
                  </a:cubicBezTo>
                  <a:cubicBezTo>
                    <a:pt x="4" y="82"/>
                    <a:pt x="4" y="81"/>
                    <a:pt x="4" y="81"/>
                  </a:cubicBezTo>
                  <a:cubicBezTo>
                    <a:pt x="4" y="75"/>
                    <a:pt x="3" y="70"/>
                    <a:pt x="3" y="64"/>
                  </a:cubicBezTo>
                  <a:cubicBezTo>
                    <a:pt x="2" y="62"/>
                    <a:pt x="2" y="61"/>
                    <a:pt x="2" y="60"/>
                  </a:cubicBezTo>
                  <a:cubicBezTo>
                    <a:pt x="0" y="38"/>
                    <a:pt x="5" y="16"/>
                    <a:pt x="15" y="0"/>
                  </a:cubicBezTo>
                  <a:cubicBezTo>
                    <a:pt x="14" y="2"/>
                    <a:pt x="9" y="11"/>
                    <a:pt x="5" y="25"/>
                  </a:cubicBezTo>
                  <a:cubicBezTo>
                    <a:pt x="4" y="30"/>
                    <a:pt x="3" y="35"/>
                    <a:pt x="3" y="40"/>
                  </a:cubicBezTo>
                  <a:cubicBezTo>
                    <a:pt x="2" y="44"/>
                    <a:pt x="2" y="49"/>
                    <a:pt x="2" y="53"/>
                  </a:cubicBezTo>
                  <a:cubicBezTo>
                    <a:pt x="3" y="57"/>
                    <a:pt x="3" y="62"/>
                    <a:pt x="3" y="66"/>
                  </a:cubicBezTo>
                  <a:cubicBezTo>
                    <a:pt x="4" y="69"/>
                    <a:pt x="4" y="71"/>
                    <a:pt x="4" y="74"/>
                  </a:cubicBezTo>
                  <a:cubicBezTo>
                    <a:pt x="4" y="75"/>
                    <a:pt x="4" y="77"/>
                    <a:pt x="5" y="79"/>
                  </a:cubicBezTo>
                  <a:cubicBezTo>
                    <a:pt x="5" y="81"/>
                    <a:pt x="5" y="82"/>
                    <a:pt x="4" y="84"/>
                  </a:cubicBezTo>
                  <a:cubicBezTo>
                    <a:pt x="4" y="84"/>
                    <a:pt x="4" y="85"/>
                    <a:pt x="5" y="85"/>
                  </a:cubicBezTo>
                  <a:cubicBezTo>
                    <a:pt x="5" y="86"/>
                    <a:pt x="5" y="84"/>
                    <a:pt x="5" y="84"/>
                  </a:cubicBezTo>
                  <a:cubicBezTo>
                    <a:pt x="6" y="83"/>
                    <a:pt x="6" y="82"/>
                    <a:pt x="6" y="81"/>
                  </a:cubicBezTo>
                  <a:cubicBezTo>
                    <a:pt x="7" y="79"/>
                    <a:pt x="8" y="78"/>
                    <a:pt x="8" y="77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8" y="77"/>
                    <a:pt x="8" y="78"/>
                  </a:cubicBezTo>
                  <a:cubicBezTo>
                    <a:pt x="8" y="78"/>
                    <a:pt x="7" y="79"/>
                    <a:pt x="7" y="81"/>
                  </a:cubicBezTo>
                  <a:cubicBezTo>
                    <a:pt x="6" y="82"/>
                    <a:pt x="6" y="83"/>
                    <a:pt x="6" y="84"/>
                  </a:cubicBezTo>
                  <a:cubicBezTo>
                    <a:pt x="6" y="84"/>
                    <a:pt x="6" y="85"/>
                    <a:pt x="5" y="8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6" name="Freeform 453">
              <a:extLst>
                <a:ext uri="{FF2B5EF4-FFF2-40B4-BE49-F238E27FC236}">
                  <a16:creationId xmlns:a16="http://schemas.microsoft.com/office/drawing/2014/main" id="{5D4E5460-5BA7-4F3F-865F-05568013B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0" y="1684338"/>
              <a:ext cx="11113" cy="77788"/>
            </a:xfrm>
            <a:custGeom>
              <a:avLst/>
              <a:gdLst>
                <a:gd name="T0" fmla="*/ 0 w 4"/>
                <a:gd name="T1" fmla="*/ 29 h 29"/>
                <a:gd name="T2" fmla="*/ 1 w 4"/>
                <a:gd name="T3" fmla="*/ 26 h 29"/>
                <a:gd name="T4" fmla="*/ 2 w 4"/>
                <a:gd name="T5" fmla="*/ 14 h 29"/>
                <a:gd name="T6" fmla="*/ 3 w 4"/>
                <a:gd name="T7" fmla="*/ 3 h 29"/>
                <a:gd name="T8" fmla="*/ 4 w 4"/>
                <a:gd name="T9" fmla="*/ 0 h 29"/>
                <a:gd name="T10" fmla="*/ 3 w 4"/>
                <a:gd name="T11" fmla="*/ 3 h 29"/>
                <a:gd name="T12" fmla="*/ 2 w 4"/>
                <a:gd name="T13" fmla="*/ 14 h 29"/>
                <a:gd name="T14" fmla="*/ 1 w 4"/>
                <a:gd name="T15" fmla="*/ 26 h 29"/>
                <a:gd name="T16" fmla="*/ 0 w 4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9">
                  <a:moveTo>
                    <a:pt x="0" y="29"/>
                  </a:moveTo>
                  <a:cubicBezTo>
                    <a:pt x="0" y="29"/>
                    <a:pt x="0" y="28"/>
                    <a:pt x="1" y="26"/>
                  </a:cubicBezTo>
                  <a:cubicBezTo>
                    <a:pt x="1" y="24"/>
                    <a:pt x="1" y="20"/>
                    <a:pt x="2" y="14"/>
                  </a:cubicBezTo>
                  <a:cubicBezTo>
                    <a:pt x="2" y="8"/>
                    <a:pt x="3" y="5"/>
                    <a:pt x="3" y="3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4" y="1"/>
                    <a:pt x="3" y="3"/>
                  </a:cubicBezTo>
                  <a:cubicBezTo>
                    <a:pt x="3" y="5"/>
                    <a:pt x="3" y="9"/>
                    <a:pt x="2" y="14"/>
                  </a:cubicBezTo>
                  <a:cubicBezTo>
                    <a:pt x="1" y="20"/>
                    <a:pt x="1" y="24"/>
                    <a:pt x="1" y="26"/>
                  </a:cubicBezTo>
                  <a:cubicBezTo>
                    <a:pt x="1" y="28"/>
                    <a:pt x="0" y="29"/>
                    <a:pt x="0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7" name="Freeform 454">
              <a:extLst>
                <a:ext uri="{FF2B5EF4-FFF2-40B4-BE49-F238E27FC236}">
                  <a16:creationId xmlns:a16="http://schemas.microsoft.com/office/drawing/2014/main" id="{02E05E0F-3817-4127-90AE-C57CC9CE2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1738" y="1597026"/>
              <a:ext cx="7938" cy="7938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2 h 3"/>
                <a:gd name="T4" fmla="*/ 0 w 3"/>
                <a:gd name="T5" fmla="*/ 2 h 3"/>
                <a:gd name="T6" fmla="*/ 0 w 3"/>
                <a:gd name="T7" fmla="*/ 2 h 3"/>
                <a:gd name="T8" fmla="*/ 1 w 3"/>
                <a:gd name="T9" fmla="*/ 2 h 3"/>
                <a:gd name="T10" fmla="*/ 2 w 3"/>
                <a:gd name="T11" fmla="*/ 2 h 3"/>
                <a:gd name="T12" fmla="*/ 3 w 3"/>
                <a:gd name="T13" fmla="*/ 1 h 3"/>
                <a:gd name="T14" fmla="*/ 3 w 3"/>
                <a:gd name="T15" fmla="*/ 0 h 3"/>
                <a:gd name="T16" fmla="*/ 3 w 3"/>
                <a:gd name="T17" fmla="*/ 0 h 3"/>
                <a:gd name="T18" fmla="*/ 3 w 3"/>
                <a:gd name="T19" fmla="*/ 0 h 3"/>
                <a:gd name="T20" fmla="*/ 3 w 3"/>
                <a:gd name="T21" fmla="*/ 0 h 3"/>
                <a:gd name="T22" fmla="*/ 3 w 3"/>
                <a:gd name="T23" fmla="*/ 0 h 3"/>
                <a:gd name="T24" fmla="*/ 3 w 3"/>
                <a:gd name="T25" fmla="*/ 1 h 3"/>
                <a:gd name="T26" fmla="*/ 2 w 3"/>
                <a:gd name="T27" fmla="*/ 2 h 3"/>
                <a:gd name="T28" fmla="*/ 1 w 3"/>
                <a:gd name="T29" fmla="*/ 3 h 3"/>
                <a:gd name="T30" fmla="*/ 0 w 3"/>
                <a:gd name="T31" fmla="*/ 3 h 3"/>
                <a:gd name="T32" fmla="*/ 0 w 3"/>
                <a:gd name="T3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38" name="Group 737">
            <a:extLst>
              <a:ext uri="{FF2B5EF4-FFF2-40B4-BE49-F238E27FC236}">
                <a16:creationId xmlns:a16="http://schemas.microsoft.com/office/drawing/2014/main" id="{5FCB11D6-A586-4BD9-BCAA-BC411CF537EC}"/>
              </a:ext>
            </a:extLst>
          </p:cNvPr>
          <p:cNvGrpSpPr/>
          <p:nvPr/>
        </p:nvGrpSpPr>
        <p:grpSpPr>
          <a:xfrm>
            <a:off x="3257778" y="5175865"/>
            <a:ext cx="407784" cy="382828"/>
            <a:chOff x="7737247" y="3645797"/>
            <a:chExt cx="1863726" cy="1874838"/>
          </a:xfrm>
        </p:grpSpPr>
        <p:sp>
          <p:nvSpPr>
            <p:cNvPr id="739" name="Freeform 275">
              <a:extLst>
                <a:ext uri="{FF2B5EF4-FFF2-40B4-BE49-F238E27FC236}">
                  <a16:creationId xmlns:a16="http://schemas.microsoft.com/office/drawing/2014/main" id="{AC3C332C-87F2-4154-AE91-6B3CC2AC6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511" y="3645797"/>
              <a:ext cx="1316038" cy="977900"/>
            </a:xfrm>
            <a:custGeom>
              <a:avLst/>
              <a:gdLst>
                <a:gd name="T0" fmla="*/ 329 w 498"/>
                <a:gd name="T1" fmla="*/ 203 h 370"/>
                <a:gd name="T2" fmla="*/ 329 w 498"/>
                <a:gd name="T3" fmla="*/ 265 h 370"/>
                <a:gd name="T4" fmla="*/ 498 w 498"/>
                <a:gd name="T5" fmla="*/ 137 h 370"/>
                <a:gd name="T6" fmla="*/ 342 w 498"/>
                <a:gd name="T7" fmla="*/ 7 h 370"/>
                <a:gd name="T8" fmla="*/ 329 w 498"/>
                <a:gd name="T9" fmla="*/ 0 h 370"/>
                <a:gd name="T10" fmla="*/ 329 w 498"/>
                <a:gd name="T11" fmla="*/ 88 h 370"/>
                <a:gd name="T12" fmla="*/ 197 w 498"/>
                <a:gd name="T13" fmla="*/ 89 h 370"/>
                <a:gd name="T14" fmla="*/ 50 w 498"/>
                <a:gd name="T15" fmla="*/ 204 h 370"/>
                <a:gd name="T16" fmla="*/ 0 w 498"/>
                <a:gd name="T17" fmla="*/ 331 h 370"/>
                <a:gd name="T18" fmla="*/ 122 w 498"/>
                <a:gd name="T19" fmla="*/ 370 h 370"/>
                <a:gd name="T20" fmla="*/ 329 w 498"/>
                <a:gd name="T21" fmla="*/ 203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8" h="370">
                  <a:moveTo>
                    <a:pt x="329" y="203"/>
                  </a:moveTo>
                  <a:cubicBezTo>
                    <a:pt x="329" y="265"/>
                    <a:pt x="329" y="265"/>
                    <a:pt x="329" y="265"/>
                  </a:cubicBezTo>
                  <a:cubicBezTo>
                    <a:pt x="498" y="137"/>
                    <a:pt x="498" y="137"/>
                    <a:pt x="498" y="137"/>
                  </a:cubicBezTo>
                  <a:cubicBezTo>
                    <a:pt x="498" y="137"/>
                    <a:pt x="362" y="26"/>
                    <a:pt x="342" y="7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9" y="88"/>
                    <a:pt x="329" y="88"/>
                    <a:pt x="329" y="88"/>
                  </a:cubicBezTo>
                  <a:cubicBezTo>
                    <a:pt x="329" y="88"/>
                    <a:pt x="251" y="77"/>
                    <a:pt x="197" y="89"/>
                  </a:cubicBezTo>
                  <a:cubicBezTo>
                    <a:pt x="143" y="100"/>
                    <a:pt x="81" y="157"/>
                    <a:pt x="50" y="204"/>
                  </a:cubicBezTo>
                  <a:cubicBezTo>
                    <a:pt x="19" y="251"/>
                    <a:pt x="0" y="331"/>
                    <a:pt x="0" y="331"/>
                  </a:cubicBezTo>
                  <a:cubicBezTo>
                    <a:pt x="122" y="370"/>
                    <a:pt x="122" y="370"/>
                    <a:pt x="122" y="370"/>
                  </a:cubicBezTo>
                  <a:cubicBezTo>
                    <a:pt x="122" y="370"/>
                    <a:pt x="130" y="193"/>
                    <a:pt x="329" y="2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0" name="Freeform 276">
              <a:extLst>
                <a:ext uri="{FF2B5EF4-FFF2-40B4-BE49-F238E27FC236}">
                  <a16:creationId xmlns:a16="http://schemas.microsoft.com/office/drawing/2014/main" id="{AC0511FB-537F-4C78-8571-599488F6C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0734" y="4009335"/>
              <a:ext cx="630239" cy="1392237"/>
            </a:xfrm>
            <a:custGeom>
              <a:avLst/>
              <a:gdLst>
                <a:gd name="T0" fmla="*/ 60 w 239"/>
                <a:gd name="T1" fmla="*/ 347 h 527"/>
                <a:gd name="T2" fmla="*/ 6 w 239"/>
                <a:gd name="T3" fmla="*/ 318 h 527"/>
                <a:gd name="T4" fmla="*/ 39 w 239"/>
                <a:gd name="T5" fmla="*/ 527 h 527"/>
                <a:gd name="T6" fmla="*/ 227 w 239"/>
                <a:gd name="T7" fmla="*/ 451 h 527"/>
                <a:gd name="T8" fmla="*/ 239 w 239"/>
                <a:gd name="T9" fmla="*/ 443 h 527"/>
                <a:gd name="T10" fmla="*/ 162 w 239"/>
                <a:gd name="T11" fmla="*/ 402 h 527"/>
                <a:gd name="T12" fmla="*/ 223 w 239"/>
                <a:gd name="T13" fmla="*/ 285 h 527"/>
                <a:gd name="T14" fmla="*/ 190 w 239"/>
                <a:gd name="T15" fmla="*/ 100 h 527"/>
                <a:gd name="T16" fmla="*/ 104 w 239"/>
                <a:gd name="T17" fmla="*/ 0 h 527"/>
                <a:gd name="T18" fmla="*/ 0 w 239"/>
                <a:gd name="T19" fmla="*/ 79 h 527"/>
                <a:gd name="T20" fmla="*/ 60 w 239"/>
                <a:gd name="T21" fmla="*/ 34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527">
                  <a:moveTo>
                    <a:pt x="60" y="347"/>
                  </a:moveTo>
                  <a:cubicBezTo>
                    <a:pt x="6" y="318"/>
                    <a:pt x="6" y="318"/>
                    <a:pt x="6" y="318"/>
                  </a:cubicBezTo>
                  <a:cubicBezTo>
                    <a:pt x="39" y="527"/>
                    <a:pt x="39" y="527"/>
                    <a:pt x="39" y="527"/>
                  </a:cubicBezTo>
                  <a:cubicBezTo>
                    <a:pt x="39" y="527"/>
                    <a:pt x="200" y="459"/>
                    <a:pt x="227" y="451"/>
                  </a:cubicBezTo>
                  <a:cubicBezTo>
                    <a:pt x="239" y="443"/>
                    <a:pt x="239" y="443"/>
                    <a:pt x="239" y="443"/>
                  </a:cubicBezTo>
                  <a:cubicBezTo>
                    <a:pt x="162" y="402"/>
                    <a:pt x="162" y="402"/>
                    <a:pt x="162" y="402"/>
                  </a:cubicBezTo>
                  <a:cubicBezTo>
                    <a:pt x="162" y="402"/>
                    <a:pt x="207" y="338"/>
                    <a:pt x="223" y="285"/>
                  </a:cubicBezTo>
                  <a:cubicBezTo>
                    <a:pt x="239" y="232"/>
                    <a:pt x="217" y="150"/>
                    <a:pt x="190" y="100"/>
                  </a:cubicBezTo>
                  <a:cubicBezTo>
                    <a:pt x="163" y="51"/>
                    <a:pt x="104" y="0"/>
                    <a:pt x="104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163" y="176"/>
                    <a:pt x="60" y="3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1" name="Freeform 277">
              <a:extLst>
                <a:ext uri="{FF2B5EF4-FFF2-40B4-BE49-F238E27FC236}">
                  <a16:creationId xmlns:a16="http://schemas.microsoft.com/office/drawing/2014/main" id="{17F585A9-9B65-44DD-AF0C-7A60606B5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7247" y="4623697"/>
              <a:ext cx="1249363" cy="896938"/>
            </a:xfrm>
            <a:custGeom>
              <a:avLst/>
              <a:gdLst>
                <a:gd name="T0" fmla="*/ 172 w 473"/>
                <a:gd name="T1" fmla="*/ 105 h 339"/>
                <a:gd name="T2" fmla="*/ 224 w 473"/>
                <a:gd name="T3" fmla="*/ 72 h 339"/>
                <a:gd name="T4" fmla="*/ 24 w 473"/>
                <a:gd name="T5" fmla="*/ 0 h 339"/>
                <a:gd name="T6" fmla="*/ 0 w 473"/>
                <a:gd name="T7" fmla="*/ 201 h 339"/>
                <a:gd name="T8" fmla="*/ 1 w 473"/>
                <a:gd name="T9" fmla="*/ 216 h 339"/>
                <a:gd name="T10" fmla="*/ 75 w 473"/>
                <a:gd name="T11" fmla="*/ 168 h 339"/>
                <a:gd name="T12" fmla="*/ 148 w 473"/>
                <a:gd name="T13" fmla="*/ 278 h 339"/>
                <a:gd name="T14" fmla="*/ 325 w 473"/>
                <a:gd name="T15" fmla="*/ 339 h 339"/>
                <a:gd name="T16" fmla="*/ 473 w 473"/>
                <a:gd name="T17" fmla="*/ 304 h 339"/>
                <a:gd name="T18" fmla="*/ 450 w 473"/>
                <a:gd name="T19" fmla="*/ 179 h 339"/>
                <a:gd name="T20" fmla="*/ 172 w 473"/>
                <a:gd name="T21" fmla="*/ 105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3" h="339">
                  <a:moveTo>
                    <a:pt x="172" y="105"/>
                  </a:moveTo>
                  <a:cubicBezTo>
                    <a:pt x="224" y="72"/>
                    <a:pt x="224" y="72"/>
                    <a:pt x="224" y="7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6" y="174"/>
                    <a:pt x="0" y="201"/>
                  </a:cubicBezTo>
                  <a:cubicBezTo>
                    <a:pt x="1" y="216"/>
                    <a:pt x="1" y="216"/>
                    <a:pt x="1" y="216"/>
                  </a:cubicBezTo>
                  <a:cubicBezTo>
                    <a:pt x="75" y="168"/>
                    <a:pt x="75" y="168"/>
                    <a:pt x="75" y="168"/>
                  </a:cubicBezTo>
                  <a:cubicBezTo>
                    <a:pt x="75" y="168"/>
                    <a:pt x="109" y="239"/>
                    <a:pt x="148" y="278"/>
                  </a:cubicBezTo>
                  <a:cubicBezTo>
                    <a:pt x="187" y="318"/>
                    <a:pt x="269" y="339"/>
                    <a:pt x="325" y="339"/>
                  </a:cubicBezTo>
                  <a:cubicBezTo>
                    <a:pt x="381" y="339"/>
                    <a:pt x="473" y="304"/>
                    <a:pt x="473" y="304"/>
                  </a:cubicBezTo>
                  <a:cubicBezTo>
                    <a:pt x="450" y="179"/>
                    <a:pt x="450" y="179"/>
                    <a:pt x="450" y="179"/>
                  </a:cubicBezTo>
                  <a:cubicBezTo>
                    <a:pt x="450" y="179"/>
                    <a:pt x="272" y="278"/>
                    <a:pt x="172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42" name="Group 741">
            <a:extLst>
              <a:ext uri="{FF2B5EF4-FFF2-40B4-BE49-F238E27FC236}">
                <a16:creationId xmlns:a16="http://schemas.microsoft.com/office/drawing/2014/main" id="{83809A45-B4CF-49BF-8DC1-B54C6F3118F6}"/>
              </a:ext>
            </a:extLst>
          </p:cNvPr>
          <p:cNvGrpSpPr/>
          <p:nvPr/>
        </p:nvGrpSpPr>
        <p:grpSpPr>
          <a:xfrm>
            <a:off x="719283" y="3882140"/>
            <a:ext cx="653053" cy="533939"/>
            <a:chOff x="1352551" y="539751"/>
            <a:chExt cx="1998663" cy="1751013"/>
          </a:xfrm>
        </p:grpSpPr>
        <p:sp>
          <p:nvSpPr>
            <p:cNvPr id="743" name="Freeform 74">
              <a:extLst>
                <a:ext uri="{FF2B5EF4-FFF2-40B4-BE49-F238E27FC236}">
                  <a16:creationId xmlns:a16="http://schemas.microsoft.com/office/drawing/2014/main" id="{9CA5E9B6-CCF5-4DF9-BD72-64D7E5A61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9463" y="1185864"/>
              <a:ext cx="992188" cy="923925"/>
            </a:xfrm>
            <a:custGeom>
              <a:avLst/>
              <a:gdLst>
                <a:gd name="T0" fmla="*/ 336 w 376"/>
                <a:gd name="T1" fmla="*/ 318 h 350"/>
                <a:gd name="T2" fmla="*/ 331 w 376"/>
                <a:gd name="T3" fmla="*/ 281 h 350"/>
                <a:gd name="T4" fmla="*/ 370 w 376"/>
                <a:gd name="T5" fmla="*/ 278 h 350"/>
                <a:gd name="T6" fmla="*/ 338 w 376"/>
                <a:gd name="T7" fmla="*/ 216 h 350"/>
                <a:gd name="T8" fmla="*/ 373 w 376"/>
                <a:gd name="T9" fmla="*/ 218 h 350"/>
                <a:gd name="T10" fmla="*/ 355 w 376"/>
                <a:gd name="T11" fmla="*/ 184 h 350"/>
                <a:gd name="T12" fmla="*/ 320 w 376"/>
                <a:gd name="T13" fmla="*/ 174 h 350"/>
                <a:gd name="T14" fmla="*/ 343 w 376"/>
                <a:gd name="T15" fmla="*/ 144 h 350"/>
                <a:gd name="T16" fmla="*/ 285 w 376"/>
                <a:gd name="T17" fmla="*/ 121 h 350"/>
                <a:gd name="T18" fmla="*/ 316 w 376"/>
                <a:gd name="T19" fmla="*/ 106 h 350"/>
                <a:gd name="T20" fmla="*/ 289 w 376"/>
                <a:gd name="T21" fmla="*/ 84 h 350"/>
                <a:gd name="T22" fmla="*/ 252 w 376"/>
                <a:gd name="T23" fmla="*/ 87 h 350"/>
                <a:gd name="T24" fmla="*/ 260 w 376"/>
                <a:gd name="T25" fmla="*/ 57 h 350"/>
                <a:gd name="T26" fmla="*/ 224 w 376"/>
                <a:gd name="T27" fmla="*/ 66 h 350"/>
                <a:gd name="T28" fmla="*/ 228 w 376"/>
                <a:gd name="T29" fmla="*/ 29 h 350"/>
                <a:gd name="T30" fmla="*/ 166 w 376"/>
                <a:gd name="T31" fmla="*/ 40 h 350"/>
                <a:gd name="T32" fmla="*/ 182 w 376"/>
                <a:gd name="T33" fmla="*/ 10 h 350"/>
                <a:gd name="T34" fmla="*/ 145 w 376"/>
                <a:gd name="T35" fmla="*/ 9 h 350"/>
                <a:gd name="T36" fmla="*/ 119 w 376"/>
                <a:gd name="T37" fmla="*/ 34 h 350"/>
                <a:gd name="T38" fmla="*/ 102 w 376"/>
                <a:gd name="T39" fmla="*/ 1 h 350"/>
                <a:gd name="T40" fmla="*/ 78 w 376"/>
                <a:gd name="T41" fmla="*/ 39 h 350"/>
                <a:gd name="T42" fmla="*/ 54 w 376"/>
                <a:gd name="T43" fmla="*/ 12 h 350"/>
                <a:gd name="T44" fmla="*/ 36 w 376"/>
                <a:gd name="T45" fmla="*/ 80 h 350"/>
                <a:gd name="T46" fmla="*/ 7 w 376"/>
                <a:gd name="T47" fmla="*/ 59 h 350"/>
                <a:gd name="T48" fmla="*/ 9 w 376"/>
                <a:gd name="T49" fmla="*/ 114 h 350"/>
                <a:gd name="T50" fmla="*/ 45 w 376"/>
                <a:gd name="T51" fmla="*/ 127 h 350"/>
                <a:gd name="T52" fmla="*/ 34 w 376"/>
                <a:gd name="T53" fmla="*/ 166 h 350"/>
                <a:gd name="T54" fmla="*/ 94 w 376"/>
                <a:gd name="T55" fmla="*/ 151 h 350"/>
                <a:gd name="T56" fmla="*/ 82 w 376"/>
                <a:gd name="T57" fmla="*/ 184 h 350"/>
                <a:gd name="T58" fmla="*/ 135 w 376"/>
                <a:gd name="T59" fmla="*/ 160 h 350"/>
                <a:gd name="T60" fmla="*/ 118 w 376"/>
                <a:gd name="T61" fmla="*/ 188 h 350"/>
                <a:gd name="T62" fmla="*/ 131 w 376"/>
                <a:gd name="T63" fmla="*/ 193 h 350"/>
                <a:gd name="T64" fmla="*/ 168 w 376"/>
                <a:gd name="T65" fmla="*/ 192 h 350"/>
                <a:gd name="T66" fmla="*/ 143 w 376"/>
                <a:gd name="T67" fmla="*/ 219 h 350"/>
                <a:gd name="T68" fmla="*/ 192 w 376"/>
                <a:gd name="T69" fmla="*/ 246 h 350"/>
                <a:gd name="T70" fmla="*/ 158 w 376"/>
                <a:gd name="T71" fmla="*/ 251 h 350"/>
                <a:gd name="T72" fmla="*/ 169 w 376"/>
                <a:gd name="T73" fmla="*/ 270 h 350"/>
                <a:gd name="T74" fmla="*/ 205 w 376"/>
                <a:gd name="T75" fmla="*/ 283 h 350"/>
                <a:gd name="T76" fmla="*/ 189 w 376"/>
                <a:gd name="T77" fmla="*/ 318 h 350"/>
                <a:gd name="T78" fmla="*/ 258 w 376"/>
                <a:gd name="T79" fmla="*/ 316 h 350"/>
                <a:gd name="T80" fmla="*/ 241 w 376"/>
                <a:gd name="T81" fmla="*/ 348 h 350"/>
                <a:gd name="T82" fmla="*/ 295 w 376"/>
                <a:gd name="T83" fmla="*/ 311 h 350"/>
                <a:gd name="T84" fmla="*/ 296 w 376"/>
                <a:gd name="T85" fmla="*/ 348 h 350"/>
                <a:gd name="T86" fmla="*/ 203 w 376"/>
                <a:gd name="T87" fmla="*/ 256 h 350"/>
                <a:gd name="T88" fmla="*/ 80 w 376"/>
                <a:gd name="T89" fmla="*/ 47 h 350"/>
                <a:gd name="T90" fmla="*/ 325 w 376"/>
                <a:gd name="T91" fmla="*/ 2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6" h="350">
                  <a:moveTo>
                    <a:pt x="304" y="307"/>
                  </a:moveTo>
                  <a:cubicBezTo>
                    <a:pt x="312" y="302"/>
                    <a:pt x="319" y="296"/>
                    <a:pt x="326" y="289"/>
                  </a:cubicBezTo>
                  <a:cubicBezTo>
                    <a:pt x="339" y="305"/>
                    <a:pt x="336" y="318"/>
                    <a:pt x="336" y="318"/>
                  </a:cubicBezTo>
                  <a:cubicBezTo>
                    <a:pt x="335" y="321"/>
                    <a:pt x="336" y="323"/>
                    <a:pt x="338" y="324"/>
                  </a:cubicBezTo>
                  <a:cubicBezTo>
                    <a:pt x="341" y="324"/>
                    <a:pt x="343" y="323"/>
                    <a:pt x="344" y="321"/>
                  </a:cubicBezTo>
                  <a:cubicBezTo>
                    <a:pt x="344" y="320"/>
                    <a:pt x="349" y="302"/>
                    <a:pt x="331" y="281"/>
                  </a:cubicBezTo>
                  <a:cubicBezTo>
                    <a:pt x="336" y="273"/>
                    <a:pt x="339" y="263"/>
                    <a:pt x="341" y="255"/>
                  </a:cubicBezTo>
                  <a:cubicBezTo>
                    <a:pt x="360" y="262"/>
                    <a:pt x="364" y="274"/>
                    <a:pt x="364" y="275"/>
                  </a:cubicBezTo>
                  <a:cubicBezTo>
                    <a:pt x="365" y="277"/>
                    <a:pt x="367" y="278"/>
                    <a:pt x="370" y="278"/>
                  </a:cubicBezTo>
                  <a:cubicBezTo>
                    <a:pt x="372" y="277"/>
                    <a:pt x="373" y="275"/>
                    <a:pt x="372" y="272"/>
                  </a:cubicBezTo>
                  <a:cubicBezTo>
                    <a:pt x="372" y="271"/>
                    <a:pt x="367" y="255"/>
                    <a:pt x="342" y="246"/>
                  </a:cubicBezTo>
                  <a:cubicBezTo>
                    <a:pt x="342" y="236"/>
                    <a:pt x="341" y="226"/>
                    <a:pt x="338" y="216"/>
                  </a:cubicBezTo>
                  <a:cubicBezTo>
                    <a:pt x="357" y="217"/>
                    <a:pt x="368" y="225"/>
                    <a:pt x="368" y="225"/>
                  </a:cubicBezTo>
                  <a:cubicBezTo>
                    <a:pt x="370" y="226"/>
                    <a:pt x="373" y="226"/>
                    <a:pt x="374" y="224"/>
                  </a:cubicBezTo>
                  <a:cubicBezTo>
                    <a:pt x="376" y="222"/>
                    <a:pt x="375" y="219"/>
                    <a:pt x="373" y="218"/>
                  </a:cubicBezTo>
                  <a:cubicBezTo>
                    <a:pt x="373" y="217"/>
                    <a:pt x="359" y="207"/>
                    <a:pt x="335" y="208"/>
                  </a:cubicBezTo>
                  <a:cubicBezTo>
                    <a:pt x="332" y="199"/>
                    <a:pt x="329" y="191"/>
                    <a:pt x="325" y="182"/>
                  </a:cubicBezTo>
                  <a:cubicBezTo>
                    <a:pt x="342" y="180"/>
                    <a:pt x="355" y="184"/>
                    <a:pt x="355" y="184"/>
                  </a:cubicBezTo>
                  <a:cubicBezTo>
                    <a:pt x="358" y="185"/>
                    <a:pt x="360" y="183"/>
                    <a:pt x="361" y="181"/>
                  </a:cubicBezTo>
                  <a:cubicBezTo>
                    <a:pt x="362" y="179"/>
                    <a:pt x="360" y="176"/>
                    <a:pt x="358" y="175"/>
                  </a:cubicBezTo>
                  <a:cubicBezTo>
                    <a:pt x="357" y="175"/>
                    <a:pt x="341" y="171"/>
                    <a:pt x="320" y="174"/>
                  </a:cubicBezTo>
                  <a:cubicBezTo>
                    <a:pt x="316" y="166"/>
                    <a:pt x="312" y="158"/>
                    <a:pt x="307" y="150"/>
                  </a:cubicBezTo>
                  <a:cubicBezTo>
                    <a:pt x="324" y="146"/>
                    <a:pt x="338" y="148"/>
                    <a:pt x="338" y="148"/>
                  </a:cubicBezTo>
                  <a:cubicBezTo>
                    <a:pt x="340" y="148"/>
                    <a:pt x="343" y="147"/>
                    <a:pt x="343" y="144"/>
                  </a:cubicBezTo>
                  <a:cubicBezTo>
                    <a:pt x="343" y="142"/>
                    <a:pt x="342" y="140"/>
                    <a:pt x="339" y="139"/>
                  </a:cubicBezTo>
                  <a:cubicBezTo>
                    <a:pt x="338" y="139"/>
                    <a:pt x="322" y="137"/>
                    <a:pt x="302" y="143"/>
                  </a:cubicBezTo>
                  <a:cubicBezTo>
                    <a:pt x="297" y="135"/>
                    <a:pt x="291" y="128"/>
                    <a:pt x="285" y="121"/>
                  </a:cubicBezTo>
                  <a:cubicBezTo>
                    <a:pt x="301" y="115"/>
                    <a:pt x="316" y="115"/>
                    <a:pt x="316" y="115"/>
                  </a:cubicBezTo>
                  <a:cubicBezTo>
                    <a:pt x="318" y="115"/>
                    <a:pt x="320" y="113"/>
                    <a:pt x="320" y="110"/>
                  </a:cubicBezTo>
                  <a:cubicBezTo>
                    <a:pt x="320" y="108"/>
                    <a:pt x="318" y="106"/>
                    <a:pt x="316" y="106"/>
                  </a:cubicBezTo>
                  <a:cubicBezTo>
                    <a:pt x="315" y="106"/>
                    <a:pt x="298" y="106"/>
                    <a:pt x="279" y="114"/>
                  </a:cubicBezTo>
                  <a:cubicBezTo>
                    <a:pt x="273" y="106"/>
                    <a:pt x="266" y="99"/>
                    <a:pt x="259" y="93"/>
                  </a:cubicBezTo>
                  <a:cubicBezTo>
                    <a:pt x="274" y="85"/>
                    <a:pt x="289" y="84"/>
                    <a:pt x="289" y="84"/>
                  </a:cubicBezTo>
                  <a:cubicBezTo>
                    <a:pt x="292" y="84"/>
                    <a:pt x="294" y="82"/>
                    <a:pt x="293" y="80"/>
                  </a:cubicBezTo>
                  <a:cubicBezTo>
                    <a:pt x="293" y="78"/>
                    <a:pt x="291" y="76"/>
                    <a:pt x="289" y="76"/>
                  </a:cubicBezTo>
                  <a:cubicBezTo>
                    <a:pt x="288" y="76"/>
                    <a:pt x="270" y="76"/>
                    <a:pt x="252" y="87"/>
                  </a:cubicBezTo>
                  <a:cubicBezTo>
                    <a:pt x="249" y="84"/>
                    <a:pt x="246" y="81"/>
                    <a:pt x="243" y="79"/>
                  </a:cubicBezTo>
                  <a:cubicBezTo>
                    <a:pt x="239" y="76"/>
                    <a:pt x="236" y="74"/>
                    <a:pt x="232" y="71"/>
                  </a:cubicBezTo>
                  <a:cubicBezTo>
                    <a:pt x="246" y="61"/>
                    <a:pt x="259" y="57"/>
                    <a:pt x="260" y="57"/>
                  </a:cubicBezTo>
                  <a:cubicBezTo>
                    <a:pt x="262" y="57"/>
                    <a:pt x="263" y="54"/>
                    <a:pt x="263" y="52"/>
                  </a:cubicBezTo>
                  <a:cubicBezTo>
                    <a:pt x="262" y="50"/>
                    <a:pt x="260" y="48"/>
                    <a:pt x="257" y="49"/>
                  </a:cubicBezTo>
                  <a:cubicBezTo>
                    <a:pt x="257" y="49"/>
                    <a:pt x="240" y="53"/>
                    <a:pt x="224" y="66"/>
                  </a:cubicBezTo>
                  <a:cubicBezTo>
                    <a:pt x="216" y="61"/>
                    <a:pt x="208" y="56"/>
                    <a:pt x="200" y="52"/>
                  </a:cubicBezTo>
                  <a:cubicBezTo>
                    <a:pt x="212" y="40"/>
                    <a:pt x="225" y="35"/>
                    <a:pt x="225" y="35"/>
                  </a:cubicBezTo>
                  <a:cubicBezTo>
                    <a:pt x="227" y="34"/>
                    <a:pt x="228" y="31"/>
                    <a:pt x="228" y="29"/>
                  </a:cubicBezTo>
                  <a:cubicBezTo>
                    <a:pt x="227" y="27"/>
                    <a:pt x="224" y="26"/>
                    <a:pt x="222" y="26"/>
                  </a:cubicBezTo>
                  <a:cubicBezTo>
                    <a:pt x="221" y="27"/>
                    <a:pt x="205" y="32"/>
                    <a:pt x="191" y="48"/>
                  </a:cubicBezTo>
                  <a:cubicBezTo>
                    <a:pt x="183" y="45"/>
                    <a:pt x="175" y="42"/>
                    <a:pt x="166" y="40"/>
                  </a:cubicBezTo>
                  <a:cubicBezTo>
                    <a:pt x="175" y="25"/>
                    <a:pt x="187" y="18"/>
                    <a:pt x="187" y="18"/>
                  </a:cubicBezTo>
                  <a:cubicBezTo>
                    <a:pt x="189" y="17"/>
                    <a:pt x="190" y="14"/>
                    <a:pt x="188" y="12"/>
                  </a:cubicBezTo>
                  <a:cubicBezTo>
                    <a:pt x="187" y="10"/>
                    <a:pt x="184" y="9"/>
                    <a:pt x="182" y="10"/>
                  </a:cubicBezTo>
                  <a:cubicBezTo>
                    <a:pt x="182" y="11"/>
                    <a:pt x="168" y="20"/>
                    <a:pt x="157" y="38"/>
                  </a:cubicBezTo>
                  <a:cubicBezTo>
                    <a:pt x="148" y="36"/>
                    <a:pt x="138" y="34"/>
                    <a:pt x="128" y="34"/>
                  </a:cubicBezTo>
                  <a:cubicBezTo>
                    <a:pt x="134" y="16"/>
                    <a:pt x="145" y="9"/>
                    <a:pt x="145" y="9"/>
                  </a:cubicBezTo>
                  <a:cubicBezTo>
                    <a:pt x="147" y="8"/>
                    <a:pt x="148" y="5"/>
                    <a:pt x="146" y="3"/>
                  </a:cubicBezTo>
                  <a:cubicBezTo>
                    <a:pt x="145" y="1"/>
                    <a:pt x="142" y="0"/>
                    <a:pt x="140" y="1"/>
                  </a:cubicBezTo>
                  <a:cubicBezTo>
                    <a:pt x="140" y="2"/>
                    <a:pt x="126" y="10"/>
                    <a:pt x="119" y="34"/>
                  </a:cubicBezTo>
                  <a:cubicBezTo>
                    <a:pt x="110" y="34"/>
                    <a:pt x="102" y="34"/>
                    <a:pt x="92" y="36"/>
                  </a:cubicBezTo>
                  <a:cubicBezTo>
                    <a:pt x="94" y="17"/>
                    <a:pt x="102" y="8"/>
                    <a:pt x="103" y="8"/>
                  </a:cubicBezTo>
                  <a:cubicBezTo>
                    <a:pt x="104" y="6"/>
                    <a:pt x="104" y="3"/>
                    <a:pt x="102" y="1"/>
                  </a:cubicBezTo>
                  <a:cubicBezTo>
                    <a:pt x="101" y="0"/>
                    <a:pt x="98" y="0"/>
                    <a:pt x="96" y="1"/>
                  </a:cubicBezTo>
                  <a:cubicBezTo>
                    <a:pt x="96" y="2"/>
                    <a:pt x="85" y="13"/>
                    <a:pt x="83" y="38"/>
                  </a:cubicBezTo>
                  <a:cubicBezTo>
                    <a:pt x="82" y="38"/>
                    <a:pt x="80" y="38"/>
                    <a:pt x="78" y="39"/>
                  </a:cubicBezTo>
                  <a:cubicBezTo>
                    <a:pt x="70" y="41"/>
                    <a:pt x="63" y="44"/>
                    <a:pt x="57" y="49"/>
                  </a:cubicBezTo>
                  <a:cubicBezTo>
                    <a:pt x="50" y="31"/>
                    <a:pt x="56" y="18"/>
                    <a:pt x="56" y="18"/>
                  </a:cubicBezTo>
                  <a:cubicBezTo>
                    <a:pt x="57" y="16"/>
                    <a:pt x="57" y="13"/>
                    <a:pt x="54" y="12"/>
                  </a:cubicBezTo>
                  <a:cubicBezTo>
                    <a:pt x="52" y="11"/>
                    <a:pt x="49" y="12"/>
                    <a:pt x="48" y="14"/>
                  </a:cubicBezTo>
                  <a:cubicBezTo>
                    <a:pt x="41" y="31"/>
                    <a:pt x="46" y="47"/>
                    <a:pt x="50" y="55"/>
                  </a:cubicBezTo>
                  <a:cubicBezTo>
                    <a:pt x="43" y="62"/>
                    <a:pt x="39" y="71"/>
                    <a:pt x="36" y="80"/>
                  </a:cubicBezTo>
                  <a:cubicBezTo>
                    <a:pt x="18" y="71"/>
                    <a:pt x="15" y="58"/>
                    <a:pt x="15" y="57"/>
                  </a:cubicBezTo>
                  <a:cubicBezTo>
                    <a:pt x="15" y="55"/>
                    <a:pt x="12" y="53"/>
                    <a:pt x="10" y="54"/>
                  </a:cubicBezTo>
                  <a:cubicBezTo>
                    <a:pt x="8" y="54"/>
                    <a:pt x="6" y="56"/>
                    <a:pt x="7" y="59"/>
                  </a:cubicBezTo>
                  <a:cubicBezTo>
                    <a:pt x="7" y="60"/>
                    <a:pt x="10" y="77"/>
                    <a:pt x="35" y="89"/>
                  </a:cubicBezTo>
                  <a:cubicBezTo>
                    <a:pt x="34" y="99"/>
                    <a:pt x="35" y="109"/>
                    <a:pt x="40" y="119"/>
                  </a:cubicBezTo>
                  <a:cubicBezTo>
                    <a:pt x="21" y="123"/>
                    <a:pt x="9" y="114"/>
                    <a:pt x="9" y="114"/>
                  </a:cubicBezTo>
                  <a:cubicBezTo>
                    <a:pt x="7" y="112"/>
                    <a:pt x="4" y="112"/>
                    <a:pt x="2" y="114"/>
                  </a:cubicBezTo>
                  <a:cubicBezTo>
                    <a:pt x="0" y="117"/>
                    <a:pt x="2" y="120"/>
                    <a:pt x="3" y="120"/>
                  </a:cubicBezTo>
                  <a:cubicBezTo>
                    <a:pt x="4" y="121"/>
                    <a:pt x="19" y="134"/>
                    <a:pt x="45" y="127"/>
                  </a:cubicBezTo>
                  <a:cubicBezTo>
                    <a:pt x="51" y="135"/>
                    <a:pt x="58" y="141"/>
                    <a:pt x="66" y="146"/>
                  </a:cubicBezTo>
                  <a:cubicBezTo>
                    <a:pt x="54" y="161"/>
                    <a:pt x="39" y="161"/>
                    <a:pt x="38" y="161"/>
                  </a:cubicBezTo>
                  <a:cubicBezTo>
                    <a:pt x="36" y="161"/>
                    <a:pt x="34" y="163"/>
                    <a:pt x="34" y="166"/>
                  </a:cubicBezTo>
                  <a:cubicBezTo>
                    <a:pt x="34" y="168"/>
                    <a:pt x="36" y="170"/>
                    <a:pt x="38" y="170"/>
                  </a:cubicBezTo>
                  <a:cubicBezTo>
                    <a:pt x="39" y="170"/>
                    <a:pt x="59" y="170"/>
                    <a:pt x="75" y="149"/>
                  </a:cubicBezTo>
                  <a:cubicBezTo>
                    <a:pt x="81" y="151"/>
                    <a:pt x="88" y="152"/>
                    <a:pt x="94" y="151"/>
                  </a:cubicBezTo>
                  <a:cubicBezTo>
                    <a:pt x="96" y="151"/>
                    <a:pt x="99" y="151"/>
                    <a:pt x="101" y="151"/>
                  </a:cubicBezTo>
                  <a:cubicBezTo>
                    <a:pt x="93" y="168"/>
                    <a:pt x="82" y="178"/>
                    <a:pt x="82" y="178"/>
                  </a:cubicBezTo>
                  <a:cubicBezTo>
                    <a:pt x="81" y="179"/>
                    <a:pt x="79" y="182"/>
                    <a:pt x="82" y="184"/>
                  </a:cubicBezTo>
                  <a:cubicBezTo>
                    <a:pt x="83" y="186"/>
                    <a:pt x="86" y="186"/>
                    <a:pt x="88" y="184"/>
                  </a:cubicBezTo>
                  <a:cubicBezTo>
                    <a:pt x="89" y="184"/>
                    <a:pt x="101" y="172"/>
                    <a:pt x="111" y="151"/>
                  </a:cubicBezTo>
                  <a:cubicBezTo>
                    <a:pt x="119" y="152"/>
                    <a:pt x="128" y="155"/>
                    <a:pt x="135" y="160"/>
                  </a:cubicBezTo>
                  <a:cubicBezTo>
                    <a:pt x="123" y="172"/>
                    <a:pt x="112" y="182"/>
                    <a:pt x="112" y="182"/>
                  </a:cubicBezTo>
                  <a:cubicBezTo>
                    <a:pt x="110" y="183"/>
                    <a:pt x="110" y="186"/>
                    <a:pt x="112" y="188"/>
                  </a:cubicBezTo>
                  <a:cubicBezTo>
                    <a:pt x="113" y="190"/>
                    <a:pt x="116" y="190"/>
                    <a:pt x="118" y="188"/>
                  </a:cubicBezTo>
                  <a:cubicBezTo>
                    <a:pt x="118" y="188"/>
                    <a:pt x="130" y="178"/>
                    <a:pt x="143" y="165"/>
                  </a:cubicBezTo>
                  <a:cubicBezTo>
                    <a:pt x="150" y="170"/>
                    <a:pt x="156" y="176"/>
                    <a:pt x="162" y="184"/>
                  </a:cubicBezTo>
                  <a:cubicBezTo>
                    <a:pt x="146" y="192"/>
                    <a:pt x="132" y="193"/>
                    <a:pt x="131" y="193"/>
                  </a:cubicBezTo>
                  <a:cubicBezTo>
                    <a:pt x="129" y="194"/>
                    <a:pt x="127" y="196"/>
                    <a:pt x="128" y="198"/>
                  </a:cubicBezTo>
                  <a:cubicBezTo>
                    <a:pt x="128" y="201"/>
                    <a:pt x="130" y="202"/>
                    <a:pt x="132" y="202"/>
                  </a:cubicBezTo>
                  <a:cubicBezTo>
                    <a:pt x="133" y="202"/>
                    <a:pt x="149" y="200"/>
                    <a:pt x="168" y="192"/>
                  </a:cubicBezTo>
                  <a:cubicBezTo>
                    <a:pt x="172" y="199"/>
                    <a:pt x="177" y="206"/>
                    <a:pt x="180" y="214"/>
                  </a:cubicBezTo>
                  <a:cubicBezTo>
                    <a:pt x="162" y="218"/>
                    <a:pt x="149" y="215"/>
                    <a:pt x="148" y="215"/>
                  </a:cubicBezTo>
                  <a:cubicBezTo>
                    <a:pt x="146" y="215"/>
                    <a:pt x="144" y="216"/>
                    <a:pt x="143" y="219"/>
                  </a:cubicBezTo>
                  <a:cubicBezTo>
                    <a:pt x="143" y="221"/>
                    <a:pt x="145" y="223"/>
                    <a:pt x="147" y="224"/>
                  </a:cubicBezTo>
                  <a:cubicBezTo>
                    <a:pt x="147" y="224"/>
                    <a:pt x="163" y="227"/>
                    <a:pt x="184" y="223"/>
                  </a:cubicBezTo>
                  <a:cubicBezTo>
                    <a:pt x="187" y="230"/>
                    <a:pt x="190" y="238"/>
                    <a:pt x="192" y="246"/>
                  </a:cubicBezTo>
                  <a:cubicBezTo>
                    <a:pt x="173" y="246"/>
                    <a:pt x="160" y="242"/>
                    <a:pt x="160" y="242"/>
                  </a:cubicBezTo>
                  <a:cubicBezTo>
                    <a:pt x="158" y="242"/>
                    <a:pt x="155" y="243"/>
                    <a:pt x="155" y="245"/>
                  </a:cubicBezTo>
                  <a:cubicBezTo>
                    <a:pt x="154" y="248"/>
                    <a:pt x="156" y="250"/>
                    <a:pt x="158" y="251"/>
                  </a:cubicBezTo>
                  <a:cubicBezTo>
                    <a:pt x="158" y="251"/>
                    <a:pt x="172" y="255"/>
                    <a:pt x="194" y="255"/>
                  </a:cubicBezTo>
                  <a:cubicBezTo>
                    <a:pt x="195" y="261"/>
                    <a:pt x="198" y="269"/>
                    <a:pt x="201" y="274"/>
                  </a:cubicBezTo>
                  <a:cubicBezTo>
                    <a:pt x="181" y="278"/>
                    <a:pt x="170" y="271"/>
                    <a:pt x="169" y="270"/>
                  </a:cubicBezTo>
                  <a:cubicBezTo>
                    <a:pt x="167" y="269"/>
                    <a:pt x="164" y="269"/>
                    <a:pt x="163" y="272"/>
                  </a:cubicBezTo>
                  <a:cubicBezTo>
                    <a:pt x="161" y="274"/>
                    <a:pt x="163" y="277"/>
                    <a:pt x="164" y="278"/>
                  </a:cubicBezTo>
                  <a:cubicBezTo>
                    <a:pt x="165" y="278"/>
                    <a:pt x="180" y="288"/>
                    <a:pt x="205" y="283"/>
                  </a:cubicBezTo>
                  <a:cubicBezTo>
                    <a:pt x="210" y="290"/>
                    <a:pt x="216" y="296"/>
                    <a:pt x="223" y="301"/>
                  </a:cubicBezTo>
                  <a:cubicBezTo>
                    <a:pt x="207" y="315"/>
                    <a:pt x="194" y="313"/>
                    <a:pt x="194" y="313"/>
                  </a:cubicBezTo>
                  <a:cubicBezTo>
                    <a:pt x="191" y="313"/>
                    <a:pt x="188" y="314"/>
                    <a:pt x="189" y="318"/>
                  </a:cubicBezTo>
                  <a:cubicBezTo>
                    <a:pt x="189" y="320"/>
                    <a:pt x="190" y="321"/>
                    <a:pt x="192" y="322"/>
                  </a:cubicBezTo>
                  <a:cubicBezTo>
                    <a:pt x="193" y="322"/>
                    <a:pt x="210" y="325"/>
                    <a:pt x="230" y="306"/>
                  </a:cubicBezTo>
                  <a:cubicBezTo>
                    <a:pt x="239" y="311"/>
                    <a:pt x="248" y="314"/>
                    <a:pt x="258" y="316"/>
                  </a:cubicBezTo>
                  <a:cubicBezTo>
                    <a:pt x="251" y="334"/>
                    <a:pt x="238" y="340"/>
                    <a:pt x="238" y="340"/>
                  </a:cubicBezTo>
                  <a:cubicBezTo>
                    <a:pt x="236" y="341"/>
                    <a:pt x="234" y="343"/>
                    <a:pt x="235" y="346"/>
                  </a:cubicBezTo>
                  <a:cubicBezTo>
                    <a:pt x="236" y="348"/>
                    <a:pt x="238" y="349"/>
                    <a:pt x="241" y="348"/>
                  </a:cubicBezTo>
                  <a:cubicBezTo>
                    <a:pt x="242" y="348"/>
                    <a:pt x="259" y="341"/>
                    <a:pt x="267" y="316"/>
                  </a:cubicBezTo>
                  <a:cubicBezTo>
                    <a:pt x="273" y="316"/>
                    <a:pt x="279" y="316"/>
                    <a:pt x="284" y="314"/>
                  </a:cubicBezTo>
                  <a:cubicBezTo>
                    <a:pt x="288" y="313"/>
                    <a:pt x="292" y="312"/>
                    <a:pt x="295" y="311"/>
                  </a:cubicBezTo>
                  <a:cubicBezTo>
                    <a:pt x="298" y="330"/>
                    <a:pt x="290" y="342"/>
                    <a:pt x="289" y="342"/>
                  </a:cubicBezTo>
                  <a:cubicBezTo>
                    <a:pt x="288" y="344"/>
                    <a:pt x="288" y="347"/>
                    <a:pt x="290" y="348"/>
                  </a:cubicBezTo>
                  <a:cubicBezTo>
                    <a:pt x="292" y="350"/>
                    <a:pt x="295" y="350"/>
                    <a:pt x="296" y="348"/>
                  </a:cubicBezTo>
                  <a:cubicBezTo>
                    <a:pt x="297" y="347"/>
                    <a:pt x="308" y="332"/>
                    <a:pt x="304" y="307"/>
                  </a:cubicBezTo>
                  <a:close/>
                  <a:moveTo>
                    <a:pt x="232" y="297"/>
                  </a:moveTo>
                  <a:cubicBezTo>
                    <a:pt x="217" y="288"/>
                    <a:pt x="207" y="273"/>
                    <a:pt x="203" y="256"/>
                  </a:cubicBezTo>
                  <a:cubicBezTo>
                    <a:pt x="193" y="206"/>
                    <a:pt x="156" y="134"/>
                    <a:pt x="93" y="142"/>
                  </a:cubicBezTo>
                  <a:cubicBezTo>
                    <a:pt x="73" y="145"/>
                    <a:pt x="50" y="127"/>
                    <a:pt x="44" y="105"/>
                  </a:cubicBezTo>
                  <a:cubicBezTo>
                    <a:pt x="38" y="79"/>
                    <a:pt x="55" y="53"/>
                    <a:pt x="80" y="47"/>
                  </a:cubicBezTo>
                  <a:cubicBezTo>
                    <a:pt x="148" y="31"/>
                    <a:pt x="203" y="59"/>
                    <a:pt x="237" y="86"/>
                  </a:cubicBezTo>
                  <a:cubicBezTo>
                    <a:pt x="278" y="118"/>
                    <a:pt x="313" y="167"/>
                    <a:pt x="329" y="217"/>
                  </a:cubicBezTo>
                  <a:cubicBezTo>
                    <a:pt x="338" y="245"/>
                    <a:pt x="330" y="265"/>
                    <a:pt x="325" y="274"/>
                  </a:cubicBezTo>
                  <a:cubicBezTo>
                    <a:pt x="316" y="290"/>
                    <a:pt x="300" y="302"/>
                    <a:pt x="282" y="306"/>
                  </a:cubicBezTo>
                  <a:cubicBezTo>
                    <a:pt x="265" y="310"/>
                    <a:pt x="247" y="307"/>
                    <a:pt x="232" y="297"/>
                  </a:cubicBez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4" name="Freeform 75">
              <a:extLst>
                <a:ext uri="{FF2B5EF4-FFF2-40B4-BE49-F238E27FC236}">
                  <a16:creationId xmlns:a16="http://schemas.microsoft.com/office/drawing/2014/main" id="{120A08C9-2A3F-4A43-A44C-1DD2352158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0988" y="539751"/>
              <a:ext cx="1047750" cy="749300"/>
            </a:xfrm>
            <a:custGeom>
              <a:avLst/>
              <a:gdLst>
                <a:gd name="T0" fmla="*/ 388 w 397"/>
                <a:gd name="T1" fmla="*/ 85 h 283"/>
                <a:gd name="T2" fmla="*/ 355 w 397"/>
                <a:gd name="T3" fmla="*/ 72 h 283"/>
                <a:gd name="T4" fmla="*/ 369 w 397"/>
                <a:gd name="T5" fmla="*/ 38 h 283"/>
                <a:gd name="T6" fmla="*/ 303 w 397"/>
                <a:gd name="T7" fmla="*/ 37 h 283"/>
                <a:gd name="T8" fmla="*/ 319 w 397"/>
                <a:gd name="T9" fmla="*/ 8 h 283"/>
                <a:gd name="T10" fmla="*/ 282 w 397"/>
                <a:gd name="T11" fmla="*/ 8 h 283"/>
                <a:gd name="T12" fmla="*/ 258 w 397"/>
                <a:gd name="T13" fmla="*/ 34 h 283"/>
                <a:gd name="T14" fmla="*/ 243 w 397"/>
                <a:gd name="T15" fmla="*/ 1 h 283"/>
                <a:gd name="T16" fmla="*/ 197 w 397"/>
                <a:gd name="T17" fmla="*/ 40 h 283"/>
                <a:gd name="T18" fmla="*/ 198 w 397"/>
                <a:gd name="T19" fmla="*/ 8 h 283"/>
                <a:gd name="T20" fmla="*/ 168 w 397"/>
                <a:gd name="T21" fmla="*/ 21 h 283"/>
                <a:gd name="T22" fmla="*/ 153 w 397"/>
                <a:gd name="T23" fmla="*/ 54 h 283"/>
                <a:gd name="T24" fmla="*/ 132 w 397"/>
                <a:gd name="T25" fmla="*/ 34 h 283"/>
                <a:gd name="T26" fmla="*/ 123 w 397"/>
                <a:gd name="T27" fmla="*/ 68 h 283"/>
                <a:gd name="T28" fmla="*/ 93 w 397"/>
                <a:gd name="T29" fmla="*/ 49 h 283"/>
                <a:gd name="T30" fmla="*/ 75 w 397"/>
                <a:gd name="T31" fmla="*/ 107 h 283"/>
                <a:gd name="T32" fmla="*/ 57 w 397"/>
                <a:gd name="T33" fmla="*/ 80 h 283"/>
                <a:gd name="T34" fmla="*/ 39 w 397"/>
                <a:gd name="T35" fmla="*/ 111 h 283"/>
                <a:gd name="T36" fmla="*/ 49 w 397"/>
                <a:gd name="T37" fmla="*/ 144 h 283"/>
                <a:gd name="T38" fmla="*/ 14 w 397"/>
                <a:gd name="T39" fmla="*/ 144 h 283"/>
                <a:gd name="T40" fmla="*/ 35 w 397"/>
                <a:gd name="T41" fmla="*/ 181 h 283"/>
                <a:gd name="T42" fmla="*/ 2 w 397"/>
                <a:gd name="T43" fmla="*/ 190 h 283"/>
                <a:gd name="T44" fmla="*/ 52 w 397"/>
                <a:gd name="T45" fmla="*/ 235 h 283"/>
                <a:gd name="T46" fmla="*/ 21 w 397"/>
                <a:gd name="T47" fmla="*/ 251 h 283"/>
                <a:gd name="T48" fmla="*/ 69 w 397"/>
                <a:gd name="T49" fmla="*/ 274 h 283"/>
                <a:gd name="T50" fmla="*/ 96 w 397"/>
                <a:gd name="T51" fmla="*/ 249 h 283"/>
                <a:gd name="T52" fmla="*/ 125 w 397"/>
                <a:gd name="T53" fmla="*/ 275 h 283"/>
                <a:gd name="T54" fmla="*/ 139 w 397"/>
                <a:gd name="T55" fmla="*/ 218 h 283"/>
                <a:gd name="T56" fmla="*/ 162 w 397"/>
                <a:gd name="T57" fmla="*/ 243 h 283"/>
                <a:gd name="T58" fmla="*/ 164 w 397"/>
                <a:gd name="T59" fmla="*/ 186 h 283"/>
                <a:gd name="T60" fmla="*/ 181 w 397"/>
                <a:gd name="T61" fmla="*/ 213 h 283"/>
                <a:gd name="T62" fmla="*/ 191 w 397"/>
                <a:gd name="T63" fmla="*/ 204 h 283"/>
                <a:gd name="T64" fmla="*/ 206 w 397"/>
                <a:gd name="T65" fmla="*/ 172 h 283"/>
                <a:gd name="T66" fmla="*/ 218 w 397"/>
                <a:gd name="T67" fmla="*/ 205 h 283"/>
                <a:gd name="T68" fmla="*/ 263 w 397"/>
                <a:gd name="T69" fmla="*/ 176 h 283"/>
                <a:gd name="T70" fmla="*/ 252 w 397"/>
                <a:gd name="T71" fmla="*/ 207 h 283"/>
                <a:gd name="T72" fmla="*/ 274 w 397"/>
                <a:gd name="T73" fmla="*/ 206 h 283"/>
                <a:gd name="T74" fmla="*/ 300 w 397"/>
                <a:gd name="T75" fmla="*/ 180 h 283"/>
                <a:gd name="T76" fmla="*/ 323 w 397"/>
                <a:gd name="T77" fmla="*/ 210 h 283"/>
                <a:gd name="T78" fmla="*/ 352 w 397"/>
                <a:gd name="T79" fmla="*/ 150 h 283"/>
                <a:gd name="T80" fmla="*/ 372 w 397"/>
                <a:gd name="T81" fmla="*/ 179 h 283"/>
                <a:gd name="T82" fmla="*/ 364 w 397"/>
                <a:gd name="T83" fmla="*/ 116 h 283"/>
                <a:gd name="T84" fmla="*/ 396 w 397"/>
                <a:gd name="T85" fmla="*/ 131 h 283"/>
                <a:gd name="T86" fmla="*/ 276 w 397"/>
                <a:gd name="T87" fmla="*/ 170 h 283"/>
                <a:gd name="T88" fmla="*/ 44 w 397"/>
                <a:gd name="T89" fmla="*/ 183 h 283"/>
                <a:gd name="T90" fmla="*/ 346 w 397"/>
                <a:gd name="T91" fmla="*/ 75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7" h="283">
                  <a:moveTo>
                    <a:pt x="365" y="107"/>
                  </a:moveTo>
                  <a:cubicBezTo>
                    <a:pt x="364" y="98"/>
                    <a:pt x="362" y="89"/>
                    <a:pt x="359" y="80"/>
                  </a:cubicBezTo>
                  <a:cubicBezTo>
                    <a:pt x="379" y="76"/>
                    <a:pt x="388" y="84"/>
                    <a:pt x="388" y="85"/>
                  </a:cubicBezTo>
                  <a:cubicBezTo>
                    <a:pt x="390" y="86"/>
                    <a:pt x="393" y="86"/>
                    <a:pt x="394" y="85"/>
                  </a:cubicBezTo>
                  <a:cubicBezTo>
                    <a:pt x="396" y="83"/>
                    <a:pt x="396" y="80"/>
                    <a:pt x="394" y="79"/>
                  </a:cubicBezTo>
                  <a:cubicBezTo>
                    <a:pt x="394" y="78"/>
                    <a:pt x="381" y="66"/>
                    <a:pt x="355" y="72"/>
                  </a:cubicBezTo>
                  <a:cubicBezTo>
                    <a:pt x="350" y="64"/>
                    <a:pt x="343" y="57"/>
                    <a:pt x="337" y="52"/>
                  </a:cubicBezTo>
                  <a:cubicBezTo>
                    <a:pt x="351" y="39"/>
                    <a:pt x="363" y="41"/>
                    <a:pt x="364" y="41"/>
                  </a:cubicBezTo>
                  <a:cubicBezTo>
                    <a:pt x="366" y="42"/>
                    <a:pt x="368" y="40"/>
                    <a:pt x="369" y="38"/>
                  </a:cubicBezTo>
                  <a:cubicBezTo>
                    <a:pt x="369" y="35"/>
                    <a:pt x="368" y="33"/>
                    <a:pt x="365" y="33"/>
                  </a:cubicBezTo>
                  <a:cubicBezTo>
                    <a:pt x="365" y="33"/>
                    <a:pt x="348" y="30"/>
                    <a:pt x="329" y="47"/>
                  </a:cubicBezTo>
                  <a:cubicBezTo>
                    <a:pt x="321" y="43"/>
                    <a:pt x="312" y="39"/>
                    <a:pt x="303" y="37"/>
                  </a:cubicBezTo>
                  <a:cubicBezTo>
                    <a:pt x="311" y="22"/>
                    <a:pt x="323" y="16"/>
                    <a:pt x="323" y="16"/>
                  </a:cubicBezTo>
                  <a:cubicBezTo>
                    <a:pt x="325" y="15"/>
                    <a:pt x="326" y="12"/>
                    <a:pt x="325" y="10"/>
                  </a:cubicBezTo>
                  <a:cubicBezTo>
                    <a:pt x="324" y="8"/>
                    <a:pt x="321" y="7"/>
                    <a:pt x="319" y="8"/>
                  </a:cubicBezTo>
                  <a:cubicBezTo>
                    <a:pt x="318" y="8"/>
                    <a:pt x="303" y="16"/>
                    <a:pt x="294" y="36"/>
                  </a:cubicBezTo>
                  <a:cubicBezTo>
                    <a:pt x="285" y="35"/>
                    <a:pt x="276" y="34"/>
                    <a:pt x="267" y="34"/>
                  </a:cubicBezTo>
                  <a:cubicBezTo>
                    <a:pt x="273" y="18"/>
                    <a:pt x="282" y="8"/>
                    <a:pt x="282" y="8"/>
                  </a:cubicBezTo>
                  <a:cubicBezTo>
                    <a:pt x="284" y="7"/>
                    <a:pt x="284" y="4"/>
                    <a:pt x="282" y="2"/>
                  </a:cubicBezTo>
                  <a:cubicBezTo>
                    <a:pt x="281" y="1"/>
                    <a:pt x="278" y="1"/>
                    <a:pt x="276" y="2"/>
                  </a:cubicBezTo>
                  <a:cubicBezTo>
                    <a:pt x="276" y="3"/>
                    <a:pt x="265" y="14"/>
                    <a:pt x="258" y="34"/>
                  </a:cubicBezTo>
                  <a:cubicBezTo>
                    <a:pt x="250" y="34"/>
                    <a:pt x="241" y="34"/>
                    <a:pt x="232" y="35"/>
                  </a:cubicBezTo>
                  <a:cubicBezTo>
                    <a:pt x="236" y="19"/>
                    <a:pt x="244" y="8"/>
                    <a:pt x="244" y="7"/>
                  </a:cubicBezTo>
                  <a:cubicBezTo>
                    <a:pt x="245" y="6"/>
                    <a:pt x="245" y="3"/>
                    <a:pt x="243" y="1"/>
                  </a:cubicBezTo>
                  <a:cubicBezTo>
                    <a:pt x="241" y="0"/>
                    <a:pt x="238" y="1"/>
                    <a:pt x="237" y="2"/>
                  </a:cubicBezTo>
                  <a:cubicBezTo>
                    <a:pt x="236" y="3"/>
                    <a:pt x="227" y="16"/>
                    <a:pt x="223" y="36"/>
                  </a:cubicBezTo>
                  <a:cubicBezTo>
                    <a:pt x="215" y="37"/>
                    <a:pt x="206" y="39"/>
                    <a:pt x="197" y="40"/>
                  </a:cubicBezTo>
                  <a:cubicBezTo>
                    <a:pt x="200" y="24"/>
                    <a:pt x="206" y="12"/>
                    <a:pt x="206" y="12"/>
                  </a:cubicBezTo>
                  <a:cubicBezTo>
                    <a:pt x="207" y="9"/>
                    <a:pt x="206" y="7"/>
                    <a:pt x="204" y="6"/>
                  </a:cubicBezTo>
                  <a:cubicBezTo>
                    <a:pt x="202" y="5"/>
                    <a:pt x="199" y="6"/>
                    <a:pt x="198" y="8"/>
                  </a:cubicBezTo>
                  <a:cubicBezTo>
                    <a:pt x="198" y="8"/>
                    <a:pt x="190" y="23"/>
                    <a:pt x="189" y="42"/>
                  </a:cubicBezTo>
                  <a:cubicBezTo>
                    <a:pt x="179" y="45"/>
                    <a:pt x="170" y="47"/>
                    <a:pt x="162" y="51"/>
                  </a:cubicBezTo>
                  <a:cubicBezTo>
                    <a:pt x="162" y="34"/>
                    <a:pt x="168" y="21"/>
                    <a:pt x="168" y="21"/>
                  </a:cubicBezTo>
                  <a:cubicBezTo>
                    <a:pt x="169" y="19"/>
                    <a:pt x="168" y="16"/>
                    <a:pt x="166" y="15"/>
                  </a:cubicBezTo>
                  <a:cubicBezTo>
                    <a:pt x="164" y="14"/>
                    <a:pt x="161" y="15"/>
                    <a:pt x="160" y="17"/>
                  </a:cubicBezTo>
                  <a:cubicBezTo>
                    <a:pt x="160" y="18"/>
                    <a:pt x="152" y="34"/>
                    <a:pt x="153" y="54"/>
                  </a:cubicBezTo>
                  <a:cubicBezTo>
                    <a:pt x="150" y="55"/>
                    <a:pt x="146" y="57"/>
                    <a:pt x="143" y="58"/>
                  </a:cubicBezTo>
                  <a:cubicBezTo>
                    <a:pt x="139" y="60"/>
                    <a:pt x="135" y="62"/>
                    <a:pt x="131" y="64"/>
                  </a:cubicBezTo>
                  <a:cubicBezTo>
                    <a:pt x="129" y="48"/>
                    <a:pt x="132" y="34"/>
                    <a:pt x="132" y="34"/>
                  </a:cubicBezTo>
                  <a:cubicBezTo>
                    <a:pt x="132" y="32"/>
                    <a:pt x="131" y="30"/>
                    <a:pt x="129" y="29"/>
                  </a:cubicBezTo>
                  <a:cubicBezTo>
                    <a:pt x="126" y="29"/>
                    <a:pt x="124" y="30"/>
                    <a:pt x="123" y="32"/>
                  </a:cubicBezTo>
                  <a:cubicBezTo>
                    <a:pt x="123" y="33"/>
                    <a:pt x="119" y="49"/>
                    <a:pt x="123" y="68"/>
                  </a:cubicBezTo>
                  <a:cubicBezTo>
                    <a:pt x="116" y="73"/>
                    <a:pt x="108" y="78"/>
                    <a:pt x="101" y="83"/>
                  </a:cubicBezTo>
                  <a:cubicBezTo>
                    <a:pt x="95" y="67"/>
                    <a:pt x="97" y="54"/>
                    <a:pt x="97" y="54"/>
                  </a:cubicBezTo>
                  <a:cubicBezTo>
                    <a:pt x="97" y="52"/>
                    <a:pt x="96" y="49"/>
                    <a:pt x="93" y="49"/>
                  </a:cubicBezTo>
                  <a:cubicBezTo>
                    <a:pt x="91" y="49"/>
                    <a:pt x="89" y="50"/>
                    <a:pt x="89" y="53"/>
                  </a:cubicBezTo>
                  <a:cubicBezTo>
                    <a:pt x="88" y="53"/>
                    <a:pt x="86" y="70"/>
                    <a:pt x="94" y="89"/>
                  </a:cubicBezTo>
                  <a:cubicBezTo>
                    <a:pt x="87" y="94"/>
                    <a:pt x="81" y="100"/>
                    <a:pt x="75" y="107"/>
                  </a:cubicBezTo>
                  <a:cubicBezTo>
                    <a:pt x="67" y="92"/>
                    <a:pt x="66" y="79"/>
                    <a:pt x="66" y="79"/>
                  </a:cubicBezTo>
                  <a:cubicBezTo>
                    <a:pt x="66" y="77"/>
                    <a:pt x="64" y="75"/>
                    <a:pt x="61" y="75"/>
                  </a:cubicBezTo>
                  <a:cubicBezTo>
                    <a:pt x="59" y="75"/>
                    <a:pt x="57" y="77"/>
                    <a:pt x="57" y="80"/>
                  </a:cubicBezTo>
                  <a:cubicBezTo>
                    <a:pt x="57" y="80"/>
                    <a:pt x="59" y="96"/>
                    <a:pt x="69" y="114"/>
                  </a:cubicBezTo>
                  <a:cubicBezTo>
                    <a:pt x="64" y="120"/>
                    <a:pt x="58" y="128"/>
                    <a:pt x="54" y="136"/>
                  </a:cubicBezTo>
                  <a:cubicBezTo>
                    <a:pt x="41" y="123"/>
                    <a:pt x="39" y="111"/>
                    <a:pt x="39" y="111"/>
                  </a:cubicBezTo>
                  <a:cubicBezTo>
                    <a:pt x="39" y="108"/>
                    <a:pt x="37" y="107"/>
                    <a:pt x="35" y="107"/>
                  </a:cubicBezTo>
                  <a:cubicBezTo>
                    <a:pt x="32" y="107"/>
                    <a:pt x="31" y="109"/>
                    <a:pt x="31" y="111"/>
                  </a:cubicBezTo>
                  <a:cubicBezTo>
                    <a:pt x="31" y="112"/>
                    <a:pt x="32" y="128"/>
                    <a:pt x="49" y="144"/>
                  </a:cubicBezTo>
                  <a:cubicBezTo>
                    <a:pt x="46" y="151"/>
                    <a:pt x="42" y="159"/>
                    <a:pt x="39" y="168"/>
                  </a:cubicBezTo>
                  <a:cubicBezTo>
                    <a:pt x="24" y="158"/>
                    <a:pt x="20" y="147"/>
                    <a:pt x="20" y="147"/>
                  </a:cubicBezTo>
                  <a:cubicBezTo>
                    <a:pt x="19" y="144"/>
                    <a:pt x="16" y="143"/>
                    <a:pt x="14" y="144"/>
                  </a:cubicBezTo>
                  <a:cubicBezTo>
                    <a:pt x="12" y="145"/>
                    <a:pt x="11" y="147"/>
                    <a:pt x="11" y="149"/>
                  </a:cubicBezTo>
                  <a:cubicBezTo>
                    <a:pt x="12" y="150"/>
                    <a:pt x="17" y="164"/>
                    <a:pt x="37" y="176"/>
                  </a:cubicBezTo>
                  <a:cubicBezTo>
                    <a:pt x="36" y="178"/>
                    <a:pt x="36" y="180"/>
                    <a:pt x="35" y="181"/>
                  </a:cubicBezTo>
                  <a:cubicBezTo>
                    <a:pt x="33" y="189"/>
                    <a:pt x="33" y="197"/>
                    <a:pt x="35" y="204"/>
                  </a:cubicBezTo>
                  <a:cubicBezTo>
                    <a:pt x="17" y="202"/>
                    <a:pt x="8" y="191"/>
                    <a:pt x="8" y="191"/>
                  </a:cubicBezTo>
                  <a:cubicBezTo>
                    <a:pt x="7" y="189"/>
                    <a:pt x="4" y="188"/>
                    <a:pt x="2" y="190"/>
                  </a:cubicBezTo>
                  <a:cubicBezTo>
                    <a:pt x="0" y="191"/>
                    <a:pt x="0" y="194"/>
                    <a:pt x="1" y="196"/>
                  </a:cubicBezTo>
                  <a:cubicBezTo>
                    <a:pt x="12" y="209"/>
                    <a:pt x="28" y="213"/>
                    <a:pt x="37" y="213"/>
                  </a:cubicBezTo>
                  <a:cubicBezTo>
                    <a:pt x="40" y="222"/>
                    <a:pt x="45" y="229"/>
                    <a:pt x="52" y="235"/>
                  </a:cubicBezTo>
                  <a:cubicBezTo>
                    <a:pt x="36" y="246"/>
                    <a:pt x="24" y="243"/>
                    <a:pt x="24" y="243"/>
                  </a:cubicBezTo>
                  <a:cubicBezTo>
                    <a:pt x="21" y="243"/>
                    <a:pt x="19" y="244"/>
                    <a:pt x="18" y="246"/>
                  </a:cubicBezTo>
                  <a:cubicBezTo>
                    <a:pt x="18" y="248"/>
                    <a:pt x="19" y="251"/>
                    <a:pt x="21" y="251"/>
                  </a:cubicBezTo>
                  <a:cubicBezTo>
                    <a:pt x="22" y="252"/>
                    <a:pt x="39" y="256"/>
                    <a:pt x="59" y="241"/>
                  </a:cubicBezTo>
                  <a:cubicBezTo>
                    <a:pt x="67" y="246"/>
                    <a:pt x="77" y="249"/>
                    <a:pt x="88" y="249"/>
                  </a:cubicBezTo>
                  <a:cubicBezTo>
                    <a:pt x="83" y="268"/>
                    <a:pt x="69" y="274"/>
                    <a:pt x="69" y="274"/>
                  </a:cubicBezTo>
                  <a:cubicBezTo>
                    <a:pt x="67" y="275"/>
                    <a:pt x="66" y="277"/>
                    <a:pt x="66" y="279"/>
                  </a:cubicBezTo>
                  <a:cubicBezTo>
                    <a:pt x="68" y="283"/>
                    <a:pt x="71" y="282"/>
                    <a:pt x="72" y="282"/>
                  </a:cubicBezTo>
                  <a:cubicBezTo>
                    <a:pt x="73" y="281"/>
                    <a:pt x="91" y="274"/>
                    <a:pt x="96" y="249"/>
                  </a:cubicBezTo>
                  <a:cubicBezTo>
                    <a:pt x="106" y="247"/>
                    <a:pt x="115" y="244"/>
                    <a:pt x="122" y="239"/>
                  </a:cubicBezTo>
                  <a:cubicBezTo>
                    <a:pt x="129" y="256"/>
                    <a:pt x="123" y="269"/>
                    <a:pt x="123" y="269"/>
                  </a:cubicBezTo>
                  <a:cubicBezTo>
                    <a:pt x="121" y="271"/>
                    <a:pt x="122" y="274"/>
                    <a:pt x="125" y="275"/>
                  </a:cubicBezTo>
                  <a:cubicBezTo>
                    <a:pt x="127" y="276"/>
                    <a:pt x="129" y="275"/>
                    <a:pt x="130" y="273"/>
                  </a:cubicBezTo>
                  <a:cubicBezTo>
                    <a:pt x="131" y="272"/>
                    <a:pt x="139" y="255"/>
                    <a:pt x="129" y="233"/>
                  </a:cubicBezTo>
                  <a:cubicBezTo>
                    <a:pt x="133" y="228"/>
                    <a:pt x="137" y="223"/>
                    <a:pt x="139" y="218"/>
                  </a:cubicBezTo>
                  <a:cubicBezTo>
                    <a:pt x="139" y="215"/>
                    <a:pt x="140" y="213"/>
                    <a:pt x="141" y="211"/>
                  </a:cubicBezTo>
                  <a:cubicBezTo>
                    <a:pt x="152" y="226"/>
                    <a:pt x="156" y="239"/>
                    <a:pt x="156" y="240"/>
                  </a:cubicBezTo>
                  <a:cubicBezTo>
                    <a:pt x="157" y="241"/>
                    <a:pt x="158" y="243"/>
                    <a:pt x="162" y="243"/>
                  </a:cubicBezTo>
                  <a:cubicBezTo>
                    <a:pt x="164" y="242"/>
                    <a:pt x="165" y="240"/>
                    <a:pt x="165" y="237"/>
                  </a:cubicBezTo>
                  <a:cubicBezTo>
                    <a:pt x="164" y="237"/>
                    <a:pt x="160" y="220"/>
                    <a:pt x="146" y="203"/>
                  </a:cubicBezTo>
                  <a:cubicBezTo>
                    <a:pt x="151" y="196"/>
                    <a:pt x="157" y="190"/>
                    <a:pt x="164" y="186"/>
                  </a:cubicBezTo>
                  <a:cubicBezTo>
                    <a:pt x="169" y="202"/>
                    <a:pt x="173" y="216"/>
                    <a:pt x="173" y="216"/>
                  </a:cubicBezTo>
                  <a:cubicBezTo>
                    <a:pt x="173" y="218"/>
                    <a:pt x="175" y="219"/>
                    <a:pt x="178" y="219"/>
                  </a:cubicBezTo>
                  <a:cubicBezTo>
                    <a:pt x="180" y="218"/>
                    <a:pt x="182" y="216"/>
                    <a:pt x="181" y="213"/>
                  </a:cubicBezTo>
                  <a:cubicBezTo>
                    <a:pt x="181" y="213"/>
                    <a:pt x="177" y="198"/>
                    <a:pt x="172" y="182"/>
                  </a:cubicBezTo>
                  <a:cubicBezTo>
                    <a:pt x="179" y="178"/>
                    <a:pt x="188" y="175"/>
                    <a:pt x="197" y="174"/>
                  </a:cubicBezTo>
                  <a:cubicBezTo>
                    <a:pt x="196" y="191"/>
                    <a:pt x="191" y="204"/>
                    <a:pt x="191" y="204"/>
                  </a:cubicBezTo>
                  <a:cubicBezTo>
                    <a:pt x="190" y="206"/>
                    <a:pt x="191" y="209"/>
                    <a:pt x="194" y="210"/>
                  </a:cubicBezTo>
                  <a:cubicBezTo>
                    <a:pt x="196" y="210"/>
                    <a:pt x="198" y="209"/>
                    <a:pt x="199" y="207"/>
                  </a:cubicBezTo>
                  <a:cubicBezTo>
                    <a:pt x="199" y="206"/>
                    <a:pt x="205" y="192"/>
                    <a:pt x="206" y="172"/>
                  </a:cubicBezTo>
                  <a:cubicBezTo>
                    <a:pt x="214" y="171"/>
                    <a:pt x="222" y="171"/>
                    <a:pt x="231" y="172"/>
                  </a:cubicBezTo>
                  <a:cubicBezTo>
                    <a:pt x="226" y="189"/>
                    <a:pt x="218" y="199"/>
                    <a:pt x="217" y="199"/>
                  </a:cubicBezTo>
                  <a:cubicBezTo>
                    <a:pt x="216" y="201"/>
                    <a:pt x="216" y="204"/>
                    <a:pt x="218" y="205"/>
                  </a:cubicBezTo>
                  <a:cubicBezTo>
                    <a:pt x="220" y="207"/>
                    <a:pt x="223" y="206"/>
                    <a:pt x="224" y="205"/>
                  </a:cubicBezTo>
                  <a:cubicBezTo>
                    <a:pt x="225" y="204"/>
                    <a:pt x="234" y="192"/>
                    <a:pt x="240" y="172"/>
                  </a:cubicBezTo>
                  <a:cubicBezTo>
                    <a:pt x="248" y="173"/>
                    <a:pt x="256" y="174"/>
                    <a:pt x="263" y="176"/>
                  </a:cubicBezTo>
                  <a:cubicBezTo>
                    <a:pt x="255" y="192"/>
                    <a:pt x="246" y="201"/>
                    <a:pt x="246" y="201"/>
                  </a:cubicBezTo>
                  <a:cubicBezTo>
                    <a:pt x="244" y="203"/>
                    <a:pt x="244" y="205"/>
                    <a:pt x="246" y="207"/>
                  </a:cubicBezTo>
                  <a:cubicBezTo>
                    <a:pt x="248" y="209"/>
                    <a:pt x="251" y="208"/>
                    <a:pt x="252" y="207"/>
                  </a:cubicBezTo>
                  <a:cubicBezTo>
                    <a:pt x="252" y="207"/>
                    <a:pt x="262" y="197"/>
                    <a:pt x="272" y="178"/>
                  </a:cubicBezTo>
                  <a:cubicBezTo>
                    <a:pt x="277" y="180"/>
                    <a:pt x="285" y="181"/>
                    <a:pt x="291" y="181"/>
                  </a:cubicBezTo>
                  <a:cubicBezTo>
                    <a:pt x="286" y="199"/>
                    <a:pt x="274" y="205"/>
                    <a:pt x="274" y="206"/>
                  </a:cubicBezTo>
                  <a:cubicBezTo>
                    <a:pt x="272" y="207"/>
                    <a:pt x="271" y="209"/>
                    <a:pt x="272" y="212"/>
                  </a:cubicBezTo>
                  <a:cubicBezTo>
                    <a:pt x="274" y="214"/>
                    <a:pt x="276" y="214"/>
                    <a:pt x="278" y="213"/>
                  </a:cubicBezTo>
                  <a:cubicBezTo>
                    <a:pt x="279" y="213"/>
                    <a:pt x="294" y="204"/>
                    <a:pt x="300" y="180"/>
                  </a:cubicBezTo>
                  <a:cubicBezTo>
                    <a:pt x="308" y="180"/>
                    <a:pt x="316" y="177"/>
                    <a:pt x="324" y="174"/>
                  </a:cubicBezTo>
                  <a:cubicBezTo>
                    <a:pt x="329" y="194"/>
                    <a:pt x="322" y="203"/>
                    <a:pt x="321" y="204"/>
                  </a:cubicBezTo>
                  <a:cubicBezTo>
                    <a:pt x="320" y="206"/>
                    <a:pt x="320" y="209"/>
                    <a:pt x="323" y="210"/>
                  </a:cubicBezTo>
                  <a:cubicBezTo>
                    <a:pt x="325" y="211"/>
                    <a:pt x="327" y="210"/>
                    <a:pt x="328" y="209"/>
                  </a:cubicBezTo>
                  <a:cubicBezTo>
                    <a:pt x="329" y="208"/>
                    <a:pt x="338" y="195"/>
                    <a:pt x="331" y="169"/>
                  </a:cubicBezTo>
                  <a:cubicBezTo>
                    <a:pt x="340" y="164"/>
                    <a:pt x="346" y="157"/>
                    <a:pt x="352" y="150"/>
                  </a:cubicBezTo>
                  <a:cubicBezTo>
                    <a:pt x="365" y="164"/>
                    <a:pt x="364" y="178"/>
                    <a:pt x="364" y="178"/>
                  </a:cubicBezTo>
                  <a:cubicBezTo>
                    <a:pt x="363" y="180"/>
                    <a:pt x="365" y="182"/>
                    <a:pt x="367" y="183"/>
                  </a:cubicBezTo>
                  <a:cubicBezTo>
                    <a:pt x="370" y="183"/>
                    <a:pt x="372" y="181"/>
                    <a:pt x="372" y="179"/>
                  </a:cubicBezTo>
                  <a:cubicBezTo>
                    <a:pt x="372" y="178"/>
                    <a:pt x="374" y="160"/>
                    <a:pt x="356" y="142"/>
                  </a:cubicBezTo>
                  <a:cubicBezTo>
                    <a:pt x="359" y="137"/>
                    <a:pt x="361" y="132"/>
                    <a:pt x="362" y="127"/>
                  </a:cubicBezTo>
                  <a:cubicBezTo>
                    <a:pt x="363" y="123"/>
                    <a:pt x="364" y="120"/>
                    <a:pt x="364" y="116"/>
                  </a:cubicBezTo>
                  <a:cubicBezTo>
                    <a:pt x="382" y="122"/>
                    <a:pt x="388" y="134"/>
                    <a:pt x="388" y="135"/>
                  </a:cubicBezTo>
                  <a:cubicBezTo>
                    <a:pt x="389" y="137"/>
                    <a:pt x="392" y="138"/>
                    <a:pt x="394" y="137"/>
                  </a:cubicBezTo>
                  <a:cubicBezTo>
                    <a:pt x="396" y="136"/>
                    <a:pt x="397" y="133"/>
                    <a:pt x="396" y="131"/>
                  </a:cubicBezTo>
                  <a:cubicBezTo>
                    <a:pt x="396" y="131"/>
                    <a:pt x="388" y="114"/>
                    <a:pt x="365" y="107"/>
                  </a:cubicBezTo>
                  <a:close/>
                  <a:moveTo>
                    <a:pt x="325" y="164"/>
                  </a:moveTo>
                  <a:cubicBezTo>
                    <a:pt x="310" y="172"/>
                    <a:pt x="293" y="175"/>
                    <a:pt x="276" y="170"/>
                  </a:cubicBezTo>
                  <a:cubicBezTo>
                    <a:pt x="229" y="156"/>
                    <a:pt x="152" y="157"/>
                    <a:pt x="131" y="215"/>
                  </a:cubicBezTo>
                  <a:cubicBezTo>
                    <a:pt x="124" y="233"/>
                    <a:pt x="98" y="245"/>
                    <a:pt x="77" y="239"/>
                  </a:cubicBezTo>
                  <a:cubicBezTo>
                    <a:pt x="52" y="233"/>
                    <a:pt x="37" y="208"/>
                    <a:pt x="44" y="183"/>
                  </a:cubicBezTo>
                  <a:cubicBezTo>
                    <a:pt x="60" y="118"/>
                    <a:pt x="109" y="83"/>
                    <a:pt x="146" y="66"/>
                  </a:cubicBezTo>
                  <a:cubicBezTo>
                    <a:pt x="192" y="45"/>
                    <a:pt x="249" y="37"/>
                    <a:pt x="299" y="45"/>
                  </a:cubicBezTo>
                  <a:cubicBezTo>
                    <a:pt x="327" y="50"/>
                    <a:pt x="340" y="66"/>
                    <a:pt x="346" y="75"/>
                  </a:cubicBezTo>
                  <a:cubicBezTo>
                    <a:pt x="355" y="88"/>
                    <a:pt x="359" y="107"/>
                    <a:pt x="354" y="125"/>
                  </a:cubicBezTo>
                  <a:cubicBezTo>
                    <a:pt x="350" y="141"/>
                    <a:pt x="339" y="155"/>
                    <a:pt x="325" y="164"/>
                  </a:cubicBez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5" name="Oval 76">
              <a:extLst>
                <a:ext uri="{FF2B5EF4-FFF2-40B4-BE49-F238E27FC236}">
                  <a16:creationId xmlns:a16="http://schemas.microsoft.com/office/drawing/2014/main" id="{53355002-E07C-4DFC-BFA6-4CEBF38663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3601" y="2017714"/>
              <a:ext cx="271463" cy="273050"/>
            </a:xfrm>
            <a:prstGeom prst="ellipse">
              <a:avLst/>
            </a:prstGeom>
            <a:solidFill>
              <a:srgbClr val="FFFFFF"/>
            </a:solidFill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6" name="Oval 77">
              <a:extLst>
                <a:ext uri="{FF2B5EF4-FFF2-40B4-BE49-F238E27FC236}">
                  <a16:creationId xmlns:a16="http://schemas.microsoft.com/office/drawing/2014/main" id="{7DDFF081-C23E-4B1D-AB5B-2494BDC6D0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1754189"/>
              <a:ext cx="215900" cy="212725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7" name="Oval 78">
              <a:extLst>
                <a:ext uri="{FF2B5EF4-FFF2-40B4-BE49-F238E27FC236}">
                  <a16:creationId xmlns:a16="http://schemas.microsoft.com/office/drawing/2014/main" id="{5BC1D30F-A654-4CCA-822F-1663D8DE2D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4651" y="1846264"/>
              <a:ext cx="161925" cy="158750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8" name="Oval 79">
              <a:extLst>
                <a:ext uri="{FF2B5EF4-FFF2-40B4-BE49-F238E27FC236}">
                  <a16:creationId xmlns:a16="http://schemas.microsoft.com/office/drawing/2014/main" id="{D330247D-C1EE-4523-92AB-0124128715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4026" y="1509714"/>
              <a:ext cx="161925" cy="161925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9" name="Oval 80">
              <a:extLst>
                <a:ext uri="{FF2B5EF4-FFF2-40B4-BE49-F238E27FC236}">
                  <a16:creationId xmlns:a16="http://schemas.microsoft.com/office/drawing/2014/main" id="{95E783B3-102C-4523-8929-8B7456E06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551" y="1555751"/>
              <a:ext cx="160338" cy="160338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0" name="Oval 81">
              <a:extLst>
                <a:ext uri="{FF2B5EF4-FFF2-40B4-BE49-F238E27FC236}">
                  <a16:creationId xmlns:a16="http://schemas.microsoft.com/office/drawing/2014/main" id="{29494896-1C69-4AED-8531-02EDC42EB2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8013" y="1177926"/>
              <a:ext cx="160338" cy="160338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1" name="Oval 82">
              <a:extLst>
                <a:ext uri="{FF2B5EF4-FFF2-40B4-BE49-F238E27FC236}">
                  <a16:creationId xmlns:a16="http://schemas.microsoft.com/office/drawing/2014/main" id="{F05B924F-D2A5-44F3-8BF3-4C1F0CF97E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0876" y="1509714"/>
              <a:ext cx="160338" cy="161925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2" name="Freeform 83">
              <a:extLst>
                <a:ext uri="{FF2B5EF4-FFF2-40B4-BE49-F238E27FC236}">
                  <a16:creationId xmlns:a16="http://schemas.microsoft.com/office/drawing/2014/main" id="{645F7557-5A03-4CB1-A1AA-003131152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238" y="876301"/>
              <a:ext cx="228600" cy="238125"/>
            </a:xfrm>
            <a:custGeom>
              <a:avLst/>
              <a:gdLst>
                <a:gd name="T0" fmla="*/ 87 w 87"/>
                <a:gd name="T1" fmla="*/ 21 h 90"/>
                <a:gd name="T2" fmla="*/ 19 w 87"/>
                <a:gd name="T3" fmla="*/ 21 h 90"/>
                <a:gd name="T4" fmla="*/ 19 w 87"/>
                <a:gd name="T5" fmla="*/ 73 h 90"/>
                <a:gd name="T6" fmla="*/ 53 w 87"/>
                <a:gd name="T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" h="90">
                  <a:moveTo>
                    <a:pt x="87" y="21"/>
                  </a:moveTo>
                  <a:cubicBezTo>
                    <a:pt x="87" y="21"/>
                    <a:pt x="38" y="0"/>
                    <a:pt x="19" y="21"/>
                  </a:cubicBezTo>
                  <a:cubicBezTo>
                    <a:pt x="0" y="42"/>
                    <a:pt x="19" y="73"/>
                    <a:pt x="19" y="73"/>
                  </a:cubicBezTo>
                  <a:cubicBezTo>
                    <a:pt x="53" y="90"/>
                    <a:pt x="53" y="90"/>
                    <a:pt x="53" y="90"/>
                  </a:cubicBezTo>
                </a:path>
              </a:pathLst>
            </a:custGeom>
            <a:noFill/>
            <a:ln w="841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53" name="Group 752">
            <a:extLst>
              <a:ext uri="{FF2B5EF4-FFF2-40B4-BE49-F238E27FC236}">
                <a16:creationId xmlns:a16="http://schemas.microsoft.com/office/drawing/2014/main" id="{E4698560-8CDA-48D5-981A-FEA41A03B851}"/>
              </a:ext>
            </a:extLst>
          </p:cNvPr>
          <p:cNvGrpSpPr/>
          <p:nvPr/>
        </p:nvGrpSpPr>
        <p:grpSpPr>
          <a:xfrm>
            <a:off x="590008" y="5170147"/>
            <a:ext cx="910563" cy="507765"/>
            <a:chOff x="563470" y="4889865"/>
            <a:chExt cx="910563" cy="544089"/>
          </a:xfrm>
        </p:grpSpPr>
        <p:pic>
          <p:nvPicPr>
            <p:cNvPr id="754" name="Graphic 753">
              <a:extLst>
                <a:ext uri="{FF2B5EF4-FFF2-40B4-BE49-F238E27FC236}">
                  <a16:creationId xmlns:a16="http://schemas.microsoft.com/office/drawing/2014/main" id="{0273A7E6-3F3F-40E0-8288-C16E78BA8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5137" y="4910820"/>
              <a:ext cx="761756" cy="523134"/>
            </a:xfrm>
            <a:prstGeom prst="rect">
              <a:avLst/>
            </a:prstGeom>
          </p:spPr>
        </p:pic>
        <p:sp>
          <p:nvSpPr>
            <p:cNvPr id="755" name="Oval 754">
              <a:extLst>
                <a:ext uri="{FF2B5EF4-FFF2-40B4-BE49-F238E27FC236}">
                  <a16:creationId xmlns:a16="http://schemas.microsoft.com/office/drawing/2014/main" id="{9BF37225-90D6-4566-ACEE-95601196E60A}"/>
                </a:ext>
              </a:extLst>
            </p:cNvPr>
            <p:cNvSpPr/>
            <p:nvPr/>
          </p:nvSpPr>
          <p:spPr>
            <a:xfrm>
              <a:off x="563470" y="4889865"/>
              <a:ext cx="123750" cy="123750"/>
            </a:xfrm>
            <a:custGeom>
              <a:avLst/>
              <a:gdLst>
                <a:gd name="connsiteX0" fmla="*/ 0 w 123750"/>
                <a:gd name="connsiteY0" fmla="*/ 61875 h 123750"/>
                <a:gd name="connsiteX1" fmla="*/ 61875 w 123750"/>
                <a:gd name="connsiteY1" fmla="*/ 0 h 123750"/>
                <a:gd name="connsiteX2" fmla="*/ 123750 w 123750"/>
                <a:gd name="connsiteY2" fmla="*/ 61875 h 123750"/>
                <a:gd name="connsiteX3" fmla="*/ 61875 w 123750"/>
                <a:gd name="connsiteY3" fmla="*/ 123750 h 123750"/>
                <a:gd name="connsiteX4" fmla="*/ 0 w 123750"/>
                <a:gd name="connsiteY4" fmla="*/ 61875 h 12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750" h="123750" extrusionOk="0">
                  <a:moveTo>
                    <a:pt x="0" y="61875"/>
                  </a:moveTo>
                  <a:cubicBezTo>
                    <a:pt x="1063" y="30232"/>
                    <a:pt x="21267" y="-1527"/>
                    <a:pt x="61875" y="0"/>
                  </a:cubicBezTo>
                  <a:cubicBezTo>
                    <a:pt x="90510" y="869"/>
                    <a:pt x="130128" y="25277"/>
                    <a:pt x="123750" y="61875"/>
                  </a:cubicBezTo>
                  <a:cubicBezTo>
                    <a:pt x="124133" y="97446"/>
                    <a:pt x="95282" y="121778"/>
                    <a:pt x="61875" y="123750"/>
                  </a:cubicBezTo>
                  <a:cubicBezTo>
                    <a:pt x="28971" y="123627"/>
                    <a:pt x="-4732" y="92010"/>
                    <a:pt x="0" y="61875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400">
                  <a:solidFill>
                    <a:schemeClr val="bg1"/>
                  </a:solidFill>
                </a:rPr>
                <a:t>CH</a:t>
              </a:r>
              <a:r>
                <a:rPr lang="en-US" sz="400" baseline="-2500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756" name="Oval 755">
              <a:extLst>
                <a:ext uri="{FF2B5EF4-FFF2-40B4-BE49-F238E27FC236}">
                  <a16:creationId xmlns:a16="http://schemas.microsoft.com/office/drawing/2014/main" id="{866D41F8-92BF-4877-B96B-CF19A69E181D}"/>
                </a:ext>
              </a:extLst>
            </p:cNvPr>
            <p:cNvSpPr/>
            <p:nvPr/>
          </p:nvSpPr>
          <p:spPr>
            <a:xfrm>
              <a:off x="1216290" y="5082540"/>
              <a:ext cx="76512" cy="76512"/>
            </a:xfrm>
            <a:custGeom>
              <a:avLst/>
              <a:gdLst>
                <a:gd name="connsiteX0" fmla="*/ 0 w 76512"/>
                <a:gd name="connsiteY0" fmla="*/ 38256 h 76512"/>
                <a:gd name="connsiteX1" fmla="*/ 38256 w 76512"/>
                <a:gd name="connsiteY1" fmla="*/ 0 h 76512"/>
                <a:gd name="connsiteX2" fmla="*/ 76512 w 76512"/>
                <a:gd name="connsiteY2" fmla="*/ 38256 h 76512"/>
                <a:gd name="connsiteX3" fmla="*/ 38256 w 76512"/>
                <a:gd name="connsiteY3" fmla="*/ 76512 h 76512"/>
                <a:gd name="connsiteX4" fmla="*/ 0 w 76512"/>
                <a:gd name="connsiteY4" fmla="*/ 38256 h 76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12" h="76512" extrusionOk="0">
                  <a:moveTo>
                    <a:pt x="0" y="38256"/>
                  </a:moveTo>
                  <a:cubicBezTo>
                    <a:pt x="496" y="18309"/>
                    <a:pt x="13148" y="-944"/>
                    <a:pt x="38256" y="0"/>
                  </a:cubicBezTo>
                  <a:cubicBezTo>
                    <a:pt x="55521" y="607"/>
                    <a:pt x="80128" y="15753"/>
                    <a:pt x="76512" y="38256"/>
                  </a:cubicBezTo>
                  <a:cubicBezTo>
                    <a:pt x="76767" y="60317"/>
                    <a:pt x="58077" y="73146"/>
                    <a:pt x="38256" y="76512"/>
                  </a:cubicBezTo>
                  <a:cubicBezTo>
                    <a:pt x="17499" y="76476"/>
                    <a:pt x="-224" y="59193"/>
                    <a:pt x="0" y="38256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57" name="Oval 756">
              <a:extLst>
                <a:ext uri="{FF2B5EF4-FFF2-40B4-BE49-F238E27FC236}">
                  <a16:creationId xmlns:a16="http://schemas.microsoft.com/office/drawing/2014/main" id="{6D3F9685-AB7D-44A3-9581-AE2657D95095}"/>
                </a:ext>
              </a:extLst>
            </p:cNvPr>
            <p:cNvSpPr/>
            <p:nvPr/>
          </p:nvSpPr>
          <p:spPr>
            <a:xfrm>
              <a:off x="1278224" y="5029660"/>
              <a:ext cx="52879" cy="52879"/>
            </a:xfrm>
            <a:custGeom>
              <a:avLst/>
              <a:gdLst>
                <a:gd name="connsiteX0" fmla="*/ 0 w 52879"/>
                <a:gd name="connsiteY0" fmla="*/ 26440 h 52879"/>
                <a:gd name="connsiteX1" fmla="*/ 26440 w 52879"/>
                <a:gd name="connsiteY1" fmla="*/ 0 h 52879"/>
                <a:gd name="connsiteX2" fmla="*/ 52880 w 52879"/>
                <a:gd name="connsiteY2" fmla="*/ 26440 h 52879"/>
                <a:gd name="connsiteX3" fmla="*/ 26440 w 52879"/>
                <a:gd name="connsiteY3" fmla="*/ 52880 h 52879"/>
                <a:gd name="connsiteX4" fmla="*/ 0 w 52879"/>
                <a:gd name="connsiteY4" fmla="*/ 26440 h 52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79" h="52879" extrusionOk="0">
                  <a:moveTo>
                    <a:pt x="0" y="26440"/>
                  </a:moveTo>
                  <a:cubicBezTo>
                    <a:pt x="662" y="13413"/>
                    <a:pt x="11347" y="-117"/>
                    <a:pt x="26440" y="0"/>
                  </a:cubicBezTo>
                  <a:cubicBezTo>
                    <a:pt x="38522" y="396"/>
                    <a:pt x="54898" y="11071"/>
                    <a:pt x="52880" y="26440"/>
                  </a:cubicBezTo>
                  <a:cubicBezTo>
                    <a:pt x="53319" y="42646"/>
                    <a:pt x="40482" y="51439"/>
                    <a:pt x="26440" y="52880"/>
                  </a:cubicBezTo>
                  <a:cubicBezTo>
                    <a:pt x="14396" y="52632"/>
                    <a:pt x="-2004" y="39332"/>
                    <a:pt x="0" y="26440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DDA35D8C-0271-4E0C-B71E-85897B8C0B9D}"/>
                </a:ext>
              </a:extLst>
            </p:cNvPr>
            <p:cNvSpPr/>
            <p:nvPr/>
          </p:nvSpPr>
          <p:spPr>
            <a:xfrm>
              <a:off x="1350283" y="5122930"/>
              <a:ext cx="123750" cy="123750"/>
            </a:xfrm>
            <a:custGeom>
              <a:avLst/>
              <a:gdLst>
                <a:gd name="connsiteX0" fmla="*/ 0 w 123750"/>
                <a:gd name="connsiteY0" fmla="*/ 61875 h 123750"/>
                <a:gd name="connsiteX1" fmla="*/ 61875 w 123750"/>
                <a:gd name="connsiteY1" fmla="*/ 0 h 123750"/>
                <a:gd name="connsiteX2" fmla="*/ 123750 w 123750"/>
                <a:gd name="connsiteY2" fmla="*/ 61875 h 123750"/>
                <a:gd name="connsiteX3" fmla="*/ 61875 w 123750"/>
                <a:gd name="connsiteY3" fmla="*/ 123750 h 123750"/>
                <a:gd name="connsiteX4" fmla="*/ 0 w 123750"/>
                <a:gd name="connsiteY4" fmla="*/ 61875 h 12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750" h="123750" extrusionOk="0">
                  <a:moveTo>
                    <a:pt x="0" y="61875"/>
                  </a:moveTo>
                  <a:cubicBezTo>
                    <a:pt x="1063" y="30232"/>
                    <a:pt x="21267" y="-1527"/>
                    <a:pt x="61875" y="0"/>
                  </a:cubicBezTo>
                  <a:cubicBezTo>
                    <a:pt x="90510" y="869"/>
                    <a:pt x="130128" y="25277"/>
                    <a:pt x="123750" y="61875"/>
                  </a:cubicBezTo>
                  <a:cubicBezTo>
                    <a:pt x="124133" y="97446"/>
                    <a:pt x="95282" y="121778"/>
                    <a:pt x="61875" y="123750"/>
                  </a:cubicBezTo>
                  <a:cubicBezTo>
                    <a:pt x="28971" y="123627"/>
                    <a:pt x="-4732" y="92010"/>
                    <a:pt x="0" y="61875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400">
                  <a:solidFill>
                    <a:schemeClr val="bg1"/>
                  </a:solidFill>
                </a:rPr>
                <a:t>N</a:t>
              </a:r>
              <a:r>
                <a:rPr lang="en-US" sz="400" baseline="-25000">
                  <a:solidFill>
                    <a:schemeClr val="bg1"/>
                  </a:solidFill>
                </a:rPr>
                <a:t>2</a:t>
              </a:r>
              <a:r>
                <a:rPr lang="en-US" sz="400">
                  <a:solidFill>
                    <a:schemeClr val="bg1"/>
                  </a:solidFill>
                </a:rPr>
                <a:t>O</a:t>
              </a:r>
              <a:endParaRPr lang="en-US" sz="400" baseline="-25000">
                <a:solidFill>
                  <a:schemeClr val="bg1"/>
                </a:solidFill>
              </a:endParaRPr>
            </a:p>
          </p:txBody>
        </p:sp>
        <p:sp>
          <p:nvSpPr>
            <p:cNvPr id="759" name="Oval 758">
              <a:extLst>
                <a:ext uri="{FF2B5EF4-FFF2-40B4-BE49-F238E27FC236}">
                  <a16:creationId xmlns:a16="http://schemas.microsoft.com/office/drawing/2014/main" id="{FB2E2E74-2DB7-4D9B-8D23-5FED6DE71E5E}"/>
                </a:ext>
              </a:extLst>
            </p:cNvPr>
            <p:cNvSpPr/>
            <p:nvPr/>
          </p:nvSpPr>
          <p:spPr>
            <a:xfrm>
              <a:off x="1073448" y="4946471"/>
              <a:ext cx="123750" cy="123750"/>
            </a:xfrm>
            <a:custGeom>
              <a:avLst/>
              <a:gdLst>
                <a:gd name="connsiteX0" fmla="*/ 0 w 123750"/>
                <a:gd name="connsiteY0" fmla="*/ 61875 h 123750"/>
                <a:gd name="connsiteX1" fmla="*/ 61875 w 123750"/>
                <a:gd name="connsiteY1" fmla="*/ 0 h 123750"/>
                <a:gd name="connsiteX2" fmla="*/ 123750 w 123750"/>
                <a:gd name="connsiteY2" fmla="*/ 61875 h 123750"/>
                <a:gd name="connsiteX3" fmla="*/ 61875 w 123750"/>
                <a:gd name="connsiteY3" fmla="*/ 123750 h 123750"/>
                <a:gd name="connsiteX4" fmla="*/ 0 w 123750"/>
                <a:gd name="connsiteY4" fmla="*/ 61875 h 12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750" h="123750" extrusionOk="0">
                  <a:moveTo>
                    <a:pt x="0" y="61875"/>
                  </a:moveTo>
                  <a:cubicBezTo>
                    <a:pt x="1063" y="30232"/>
                    <a:pt x="21267" y="-1527"/>
                    <a:pt x="61875" y="0"/>
                  </a:cubicBezTo>
                  <a:cubicBezTo>
                    <a:pt x="90510" y="869"/>
                    <a:pt x="130128" y="25277"/>
                    <a:pt x="123750" y="61875"/>
                  </a:cubicBezTo>
                  <a:cubicBezTo>
                    <a:pt x="124133" y="97446"/>
                    <a:pt x="95282" y="121778"/>
                    <a:pt x="61875" y="123750"/>
                  </a:cubicBezTo>
                  <a:cubicBezTo>
                    <a:pt x="28971" y="123627"/>
                    <a:pt x="-4732" y="92010"/>
                    <a:pt x="0" y="61875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400">
                  <a:solidFill>
                    <a:schemeClr val="bg1"/>
                  </a:solidFill>
                </a:rPr>
                <a:t>Co</a:t>
              </a:r>
              <a:r>
                <a:rPr lang="en-US" sz="400" baseline="-2500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760" name="Oval 759">
              <a:extLst>
                <a:ext uri="{FF2B5EF4-FFF2-40B4-BE49-F238E27FC236}">
                  <a16:creationId xmlns:a16="http://schemas.microsoft.com/office/drawing/2014/main" id="{4884AB5A-E70D-4888-ADB0-E2F2DD4E2C79}"/>
                </a:ext>
              </a:extLst>
            </p:cNvPr>
            <p:cNvSpPr/>
            <p:nvPr/>
          </p:nvSpPr>
          <p:spPr>
            <a:xfrm>
              <a:off x="746680" y="5275325"/>
              <a:ext cx="52879" cy="52879"/>
            </a:xfrm>
            <a:custGeom>
              <a:avLst/>
              <a:gdLst>
                <a:gd name="connsiteX0" fmla="*/ 0 w 52879"/>
                <a:gd name="connsiteY0" fmla="*/ 26440 h 52879"/>
                <a:gd name="connsiteX1" fmla="*/ 26440 w 52879"/>
                <a:gd name="connsiteY1" fmla="*/ 0 h 52879"/>
                <a:gd name="connsiteX2" fmla="*/ 52880 w 52879"/>
                <a:gd name="connsiteY2" fmla="*/ 26440 h 52879"/>
                <a:gd name="connsiteX3" fmla="*/ 26440 w 52879"/>
                <a:gd name="connsiteY3" fmla="*/ 52880 h 52879"/>
                <a:gd name="connsiteX4" fmla="*/ 0 w 52879"/>
                <a:gd name="connsiteY4" fmla="*/ 26440 h 52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79" h="52879" extrusionOk="0">
                  <a:moveTo>
                    <a:pt x="0" y="26440"/>
                  </a:moveTo>
                  <a:cubicBezTo>
                    <a:pt x="662" y="13413"/>
                    <a:pt x="11347" y="-117"/>
                    <a:pt x="26440" y="0"/>
                  </a:cubicBezTo>
                  <a:cubicBezTo>
                    <a:pt x="38522" y="396"/>
                    <a:pt x="54898" y="11071"/>
                    <a:pt x="52880" y="26440"/>
                  </a:cubicBezTo>
                  <a:cubicBezTo>
                    <a:pt x="53319" y="42646"/>
                    <a:pt x="40482" y="51439"/>
                    <a:pt x="26440" y="52880"/>
                  </a:cubicBezTo>
                  <a:cubicBezTo>
                    <a:pt x="14396" y="52632"/>
                    <a:pt x="-2004" y="39332"/>
                    <a:pt x="0" y="26440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B2FCFE07-D5A9-421F-B265-B611075A613F}"/>
                </a:ext>
              </a:extLst>
            </p:cNvPr>
            <p:cNvSpPr/>
            <p:nvPr/>
          </p:nvSpPr>
          <p:spPr>
            <a:xfrm>
              <a:off x="731406" y="5232699"/>
              <a:ext cx="27432" cy="27432"/>
            </a:xfrm>
            <a:custGeom>
              <a:avLst/>
              <a:gdLst>
                <a:gd name="connsiteX0" fmla="*/ 0 w 27432"/>
                <a:gd name="connsiteY0" fmla="*/ 13716 h 27432"/>
                <a:gd name="connsiteX1" fmla="*/ 13716 w 27432"/>
                <a:gd name="connsiteY1" fmla="*/ 0 h 27432"/>
                <a:gd name="connsiteX2" fmla="*/ 27432 w 27432"/>
                <a:gd name="connsiteY2" fmla="*/ 13716 h 27432"/>
                <a:gd name="connsiteX3" fmla="*/ 13716 w 27432"/>
                <a:gd name="connsiteY3" fmla="*/ 27432 h 27432"/>
                <a:gd name="connsiteX4" fmla="*/ 0 w 27432"/>
                <a:gd name="connsiteY4" fmla="*/ 13716 h 27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32" h="27432" extrusionOk="0">
                  <a:moveTo>
                    <a:pt x="0" y="13716"/>
                  </a:moveTo>
                  <a:cubicBezTo>
                    <a:pt x="161" y="6524"/>
                    <a:pt x="5762" y="-90"/>
                    <a:pt x="13716" y="0"/>
                  </a:cubicBezTo>
                  <a:cubicBezTo>
                    <a:pt x="20488" y="126"/>
                    <a:pt x="27946" y="5946"/>
                    <a:pt x="27432" y="13716"/>
                  </a:cubicBezTo>
                  <a:cubicBezTo>
                    <a:pt x="27562" y="21767"/>
                    <a:pt x="21147" y="27062"/>
                    <a:pt x="13716" y="27432"/>
                  </a:cubicBezTo>
                  <a:cubicBezTo>
                    <a:pt x="7129" y="27336"/>
                    <a:pt x="-182" y="21136"/>
                    <a:pt x="0" y="13716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62" name="Text Placeholder 6">
            <a:extLst>
              <a:ext uri="{FF2B5EF4-FFF2-40B4-BE49-F238E27FC236}">
                <a16:creationId xmlns:a16="http://schemas.microsoft.com/office/drawing/2014/main" id="{85D9EF95-1E90-4B95-A554-3A079661E13B}"/>
              </a:ext>
            </a:extLst>
          </p:cNvPr>
          <p:cNvSpPr>
            <a:spLocks noGrp="1"/>
          </p:cNvSpPr>
          <p:nvPr/>
        </p:nvSpPr>
        <p:spPr>
          <a:xfrm>
            <a:off x="9851571" y="2847994"/>
            <a:ext cx="196108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Recent acquisitions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003478"/>
              </a:solidFill>
              <a:effectLst/>
              <a:uLnTx/>
              <a:uFillTx/>
              <a:ea typeface="Fira Sans" panose="020B0503050000020004" pitchFamily="34" charset="0"/>
              <a:cs typeface="Arial"/>
            </a:endParaRPr>
          </a:p>
        </p:txBody>
      </p:sp>
      <p:sp>
        <p:nvSpPr>
          <p:cNvPr id="763" name="Rectangle: Rounded Corners 762">
            <a:extLst>
              <a:ext uri="{FF2B5EF4-FFF2-40B4-BE49-F238E27FC236}">
                <a16:creationId xmlns:a16="http://schemas.microsoft.com/office/drawing/2014/main" id="{46A71D52-7872-4C38-ABBE-996CB8B8B72E}"/>
              </a:ext>
            </a:extLst>
          </p:cNvPr>
          <p:cNvSpPr/>
          <p:nvPr/>
        </p:nvSpPr>
        <p:spPr>
          <a:xfrm>
            <a:off x="9959876" y="3302873"/>
            <a:ext cx="1816293" cy="1908214"/>
          </a:xfrm>
          <a:prstGeom prst="roundRect">
            <a:avLst/>
          </a:prstGeom>
          <a:noFill/>
          <a:ln w="28575">
            <a:gradFill flip="none" rotWithShape="1">
              <a:gsLst>
                <a:gs pos="1361">
                  <a:schemeClr val="accent1">
                    <a:lumMod val="20000"/>
                    <a:lumOff val="80000"/>
                  </a:schemeClr>
                </a:gs>
                <a:gs pos="29000">
                  <a:schemeClr val="accent2"/>
                </a:gs>
                <a:gs pos="76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767" name="Picture 2" descr="Midori Animal Health">
            <a:extLst>
              <a:ext uri="{FF2B5EF4-FFF2-40B4-BE49-F238E27FC236}">
                <a16:creationId xmlns:a16="http://schemas.microsoft.com/office/drawing/2014/main" id="{5E1BD077-E4CB-4148-906C-FC1646487D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78614" y="4653004"/>
            <a:ext cx="578816" cy="372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8" name="Picture 4" descr="See the source image">
            <a:extLst>
              <a:ext uri="{FF2B5EF4-FFF2-40B4-BE49-F238E27FC236}">
                <a16:creationId xmlns:a16="http://schemas.microsoft.com/office/drawing/2014/main" id="{A9F7DF5C-BDC0-4D36-B9C9-BDD8532768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6422" y="3954522"/>
            <a:ext cx="563200" cy="473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" name="Picture 6" descr="See the source image">
            <a:extLst>
              <a:ext uri="{FF2B5EF4-FFF2-40B4-BE49-F238E27FC236}">
                <a16:creationId xmlns:a16="http://schemas.microsoft.com/office/drawing/2014/main" id="{78F1A666-59AD-4BB2-A0FC-CCE8566B38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01832" y="3568369"/>
            <a:ext cx="932381" cy="186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0" name="Text Placeholder 6">
            <a:extLst>
              <a:ext uri="{FF2B5EF4-FFF2-40B4-BE49-F238E27FC236}">
                <a16:creationId xmlns:a16="http://schemas.microsoft.com/office/drawing/2014/main" id="{B81ADEE6-D2B8-4109-A299-9C64AE418347}"/>
              </a:ext>
            </a:extLst>
          </p:cNvPr>
          <p:cNvSpPr>
            <a:spLocks noGrp="1"/>
          </p:cNvSpPr>
          <p:nvPr/>
        </p:nvSpPr>
        <p:spPr>
          <a:xfrm>
            <a:off x="4353121" y="2847994"/>
            <a:ext cx="455907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… for which DSM is uniquely positioned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003478"/>
              </a:solidFill>
              <a:effectLst/>
              <a:uLnTx/>
              <a:uFillTx/>
              <a:ea typeface="Fira Sans" panose="020B0503050000020004" pitchFamily="34" charset="0"/>
              <a:cs typeface="Arial"/>
            </a:endParaRPr>
          </a:p>
        </p:txBody>
      </p:sp>
      <p:sp>
        <p:nvSpPr>
          <p:cNvPr id="771" name="Text Placeholder 6">
            <a:extLst>
              <a:ext uri="{FF2B5EF4-FFF2-40B4-BE49-F238E27FC236}">
                <a16:creationId xmlns:a16="http://schemas.microsoft.com/office/drawing/2014/main" id="{E8B15C50-23A0-4C15-B6E7-3B2BB4A0B17A}"/>
              </a:ext>
            </a:extLst>
          </p:cNvPr>
          <p:cNvSpPr>
            <a:spLocks noGrp="1"/>
          </p:cNvSpPr>
          <p:nvPr/>
        </p:nvSpPr>
        <p:spPr>
          <a:xfrm>
            <a:off x="460994" y="2847994"/>
            <a:ext cx="3607491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Key trends …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003478"/>
              </a:solidFill>
              <a:effectLst/>
              <a:uLnTx/>
              <a:uFillTx/>
              <a:ea typeface="Fira Sans" panose="020B0503050000020004" pitchFamily="34" charset="0"/>
              <a:cs typeface="Arial"/>
            </a:endParaRPr>
          </a:p>
        </p:txBody>
      </p:sp>
      <p:sp>
        <p:nvSpPr>
          <p:cNvPr id="773" name="Rectangle 772">
            <a:extLst>
              <a:ext uri="{FF2B5EF4-FFF2-40B4-BE49-F238E27FC236}">
                <a16:creationId xmlns:a16="http://schemas.microsoft.com/office/drawing/2014/main" id="{7B7BAED8-90E8-444B-9543-61DF7A5A2AF9}"/>
              </a:ext>
            </a:extLst>
          </p:cNvPr>
          <p:cNvSpPr/>
          <p:nvPr/>
        </p:nvSpPr>
        <p:spPr>
          <a:xfrm>
            <a:off x="2941133" y="1933710"/>
            <a:ext cx="157407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oultry</a:t>
            </a:r>
          </a:p>
        </p:txBody>
      </p:sp>
      <p:sp>
        <p:nvSpPr>
          <p:cNvPr id="774" name="Rectangle 773">
            <a:extLst>
              <a:ext uri="{FF2B5EF4-FFF2-40B4-BE49-F238E27FC236}">
                <a16:creationId xmlns:a16="http://schemas.microsoft.com/office/drawing/2014/main" id="{8845D385-7A69-4886-938F-C32227615CAD}"/>
              </a:ext>
            </a:extLst>
          </p:cNvPr>
          <p:cNvSpPr/>
          <p:nvPr/>
        </p:nvSpPr>
        <p:spPr>
          <a:xfrm>
            <a:off x="3249144" y="2258402"/>
            <a:ext cx="95805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7E4B"/>
                </a:solidFill>
                <a:latin typeface="Fira Sans"/>
              </a:rPr>
              <a:t>46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%</a:t>
            </a:r>
          </a:p>
        </p:txBody>
      </p:sp>
      <p:grpSp>
        <p:nvGrpSpPr>
          <p:cNvPr id="775" name="Group 774">
            <a:extLst>
              <a:ext uri="{FF2B5EF4-FFF2-40B4-BE49-F238E27FC236}">
                <a16:creationId xmlns:a16="http://schemas.microsoft.com/office/drawing/2014/main" id="{9D636190-5F77-4023-8869-6846DF73BE2E}"/>
              </a:ext>
            </a:extLst>
          </p:cNvPr>
          <p:cNvGrpSpPr/>
          <p:nvPr/>
        </p:nvGrpSpPr>
        <p:grpSpPr>
          <a:xfrm>
            <a:off x="3287076" y="1246158"/>
            <a:ext cx="882188" cy="630039"/>
            <a:chOff x="2235165" y="1497451"/>
            <a:chExt cx="823459" cy="588096"/>
          </a:xfrm>
          <a:solidFill>
            <a:srgbClr val="007E4B"/>
          </a:solidFill>
        </p:grpSpPr>
        <p:pic>
          <p:nvPicPr>
            <p:cNvPr id="776" name="Graphic 775" descr="Chicken">
              <a:extLst>
                <a:ext uri="{FF2B5EF4-FFF2-40B4-BE49-F238E27FC236}">
                  <a16:creationId xmlns:a16="http://schemas.microsoft.com/office/drawing/2014/main" id="{2DD702A3-6888-4F2C-B276-D3AA5E4EC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235165" y="1497451"/>
              <a:ext cx="588096" cy="588096"/>
            </a:xfrm>
            <a:prstGeom prst="rect">
              <a:avLst/>
            </a:prstGeom>
          </p:spPr>
        </p:pic>
        <p:pic>
          <p:nvPicPr>
            <p:cNvPr id="777" name="Graphic 776" descr="Duck">
              <a:extLst>
                <a:ext uri="{FF2B5EF4-FFF2-40B4-BE49-F238E27FC236}">
                  <a16:creationId xmlns:a16="http://schemas.microsoft.com/office/drawing/2014/main" id="{ADCECE49-0C9B-47FD-8C96-D6D378F907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615228" y="1605786"/>
              <a:ext cx="443396" cy="443396"/>
            </a:xfrm>
            <a:prstGeom prst="rect">
              <a:avLst/>
            </a:prstGeom>
          </p:spPr>
        </p:pic>
      </p:grpSp>
      <p:sp>
        <p:nvSpPr>
          <p:cNvPr id="778" name="Rectangle 777">
            <a:extLst>
              <a:ext uri="{FF2B5EF4-FFF2-40B4-BE49-F238E27FC236}">
                <a16:creationId xmlns:a16="http://schemas.microsoft.com/office/drawing/2014/main" id="{EE69B393-7FAC-4722-8E63-1AE17B85F108}"/>
              </a:ext>
            </a:extLst>
          </p:cNvPr>
          <p:cNvSpPr/>
          <p:nvPr/>
        </p:nvSpPr>
        <p:spPr>
          <a:xfrm>
            <a:off x="7015421" y="1933710"/>
            <a:ext cx="177666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uminants</a:t>
            </a:r>
          </a:p>
        </p:txBody>
      </p:sp>
      <p:sp>
        <p:nvSpPr>
          <p:cNvPr id="779" name="Rectangle 778">
            <a:extLst>
              <a:ext uri="{FF2B5EF4-FFF2-40B4-BE49-F238E27FC236}">
                <a16:creationId xmlns:a16="http://schemas.microsoft.com/office/drawing/2014/main" id="{1A8837B9-24B6-4710-BE85-969E0DBF0AC7}"/>
              </a:ext>
            </a:extLst>
          </p:cNvPr>
          <p:cNvSpPr/>
          <p:nvPr/>
        </p:nvSpPr>
        <p:spPr>
          <a:xfrm>
            <a:off x="7417228" y="2258402"/>
            <a:ext cx="97304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7E4B"/>
                </a:solidFill>
                <a:latin typeface="Fira Sans"/>
              </a:rPr>
              <a:t>23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%</a:t>
            </a:r>
          </a:p>
        </p:txBody>
      </p:sp>
      <p:pic>
        <p:nvPicPr>
          <p:cNvPr id="780" name="Graphic 779" descr="Cow">
            <a:extLst>
              <a:ext uri="{FF2B5EF4-FFF2-40B4-BE49-F238E27FC236}">
                <a16:creationId xmlns:a16="http://schemas.microsoft.com/office/drawing/2014/main" id="{C0958941-4712-4049-BE09-5FF56F09EF3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16482" y="1173907"/>
            <a:ext cx="774540" cy="774540"/>
          </a:xfrm>
          <a:prstGeom prst="rect">
            <a:avLst/>
          </a:prstGeom>
        </p:spPr>
      </p:pic>
      <p:sp>
        <p:nvSpPr>
          <p:cNvPr id="781" name="Rectangle 780">
            <a:extLst>
              <a:ext uri="{FF2B5EF4-FFF2-40B4-BE49-F238E27FC236}">
                <a16:creationId xmlns:a16="http://schemas.microsoft.com/office/drawing/2014/main" id="{3DEB45AD-645F-4922-8F5D-0E7AA71199DA}"/>
              </a:ext>
            </a:extLst>
          </p:cNvPr>
          <p:cNvSpPr/>
          <p:nvPr/>
        </p:nvSpPr>
        <p:spPr>
          <a:xfrm>
            <a:off x="5025648" y="1933710"/>
            <a:ext cx="147933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wine</a:t>
            </a:r>
          </a:p>
        </p:txBody>
      </p:sp>
      <p:sp>
        <p:nvSpPr>
          <p:cNvPr id="782" name="Rectangle 781">
            <a:extLst>
              <a:ext uri="{FF2B5EF4-FFF2-40B4-BE49-F238E27FC236}">
                <a16:creationId xmlns:a16="http://schemas.microsoft.com/office/drawing/2014/main" id="{AD3F597F-6A85-47FA-BF43-BEBC3F7DBA63}"/>
              </a:ext>
            </a:extLst>
          </p:cNvPr>
          <p:cNvSpPr/>
          <p:nvPr/>
        </p:nvSpPr>
        <p:spPr>
          <a:xfrm>
            <a:off x="5286288" y="2258402"/>
            <a:ext cx="95805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7E4B"/>
                </a:solidFill>
                <a:latin typeface="Fira Sans"/>
              </a:rPr>
              <a:t>22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%</a:t>
            </a:r>
          </a:p>
        </p:txBody>
      </p:sp>
      <p:pic>
        <p:nvPicPr>
          <p:cNvPr id="783" name="Graphic 782" descr="Pig">
            <a:extLst>
              <a:ext uri="{FF2B5EF4-FFF2-40B4-BE49-F238E27FC236}">
                <a16:creationId xmlns:a16="http://schemas.microsoft.com/office/drawing/2014/main" id="{1913F421-22E1-437C-B092-0EA3425864C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378044" y="1173907"/>
            <a:ext cx="774541" cy="774541"/>
          </a:xfrm>
          <a:prstGeom prst="rect">
            <a:avLst/>
          </a:prstGeom>
        </p:spPr>
      </p:pic>
      <p:sp>
        <p:nvSpPr>
          <p:cNvPr id="784" name="Rectangle 783">
            <a:extLst>
              <a:ext uri="{FF2B5EF4-FFF2-40B4-BE49-F238E27FC236}">
                <a16:creationId xmlns:a16="http://schemas.microsoft.com/office/drawing/2014/main" id="{F5942635-72A1-4FF6-A712-79EB95DDBAFE}"/>
              </a:ext>
            </a:extLst>
          </p:cNvPr>
          <p:cNvSpPr/>
          <p:nvPr/>
        </p:nvSpPr>
        <p:spPr>
          <a:xfrm>
            <a:off x="9302524" y="1933710"/>
            <a:ext cx="146581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qua</a:t>
            </a:r>
          </a:p>
        </p:txBody>
      </p:sp>
      <p:sp>
        <p:nvSpPr>
          <p:cNvPr id="785" name="Rectangle 784">
            <a:extLst>
              <a:ext uri="{FF2B5EF4-FFF2-40B4-BE49-F238E27FC236}">
                <a16:creationId xmlns:a16="http://schemas.microsoft.com/office/drawing/2014/main" id="{BCB94FCE-12F6-4C29-AC39-10D31F835A76}"/>
              </a:ext>
            </a:extLst>
          </p:cNvPr>
          <p:cNvSpPr/>
          <p:nvPr/>
        </p:nvSpPr>
        <p:spPr>
          <a:xfrm>
            <a:off x="9548906" y="2258402"/>
            <a:ext cx="97304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7E4B"/>
                </a:solidFill>
                <a:latin typeface="Fira Sans"/>
              </a:rPr>
              <a:t>9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%</a:t>
            </a:r>
          </a:p>
        </p:txBody>
      </p:sp>
      <p:pic>
        <p:nvPicPr>
          <p:cNvPr id="786" name="Graphic 785" descr="Fish">
            <a:extLst>
              <a:ext uri="{FF2B5EF4-FFF2-40B4-BE49-F238E27FC236}">
                <a16:creationId xmlns:a16="http://schemas.microsoft.com/office/drawing/2014/main" id="{F51269E6-C22F-44CE-BEA0-53FB819F165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648161" y="1173908"/>
            <a:ext cx="774539" cy="774539"/>
          </a:xfrm>
          <a:prstGeom prst="rect">
            <a:avLst/>
          </a:prstGeom>
        </p:spPr>
      </p:pic>
      <p:sp>
        <p:nvSpPr>
          <p:cNvPr id="787" name="Rectangle 786">
            <a:extLst>
              <a:ext uri="{FF2B5EF4-FFF2-40B4-BE49-F238E27FC236}">
                <a16:creationId xmlns:a16="http://schemas.microsoft.com/office/drawing/2014/main" id="{1092DE34-D048-4352-AF22-2A0995D61839}"/>
              </a:ext>
            </a:extLst>
          </p:cNvPr>
          <p:cNvSpPr/>
          <p:nvPr/>
        </p:nvSpPr>
        <p:spPr>
          <a:xfrm>
            <a:off x="782332" y="1608077"/>
            <a:ext cx="1320244" cy="5801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Sales</a:t>
            </a:r>
            <a:b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€3.4bn*</a:t>
            </a:r>
          </a:p>
        </p:txBody>
      </p:sp>
      <p:sp>
        <p:nvSpPr>
          <p:cNvPr id="788" name="TextBox 787">
            <a:extLst>
              <a:ext uri="{FF2B5EF4-FFF2-40B4-BE49-F238E27FC236}">
                <a16:creationId xmlns:a16="http://schemas.microsoft.com/office/drawing/2014/main" id="{848EEA29-D88E-4E88-98C3-50C47C724C9D}"/>
              </a:ext>
            </a:extLst>
          </p:cNvPr>
          <p:cNvSpPr txBox="1"/>
          <p:nvPr/>
        </p:nvSpPr>
        <p:spPr>
          <a:xfrm>
            <a:off x="4280619" y="3359973"/>
            <a:ext cx="53953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/>
              <a:t>‘We Make It Possible’ with our current comprehensive portfolio of market-leading probiotics, prebiotics, enzymes and eubiotics for animal gut health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/>
              <a:t>World-leading science-based innovation program has developed global game-changers such as methane-inhibiting feed additive Bovaer® and algae-based fish oil alternative Veramaris®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/>
                <a:ea typeface="+mn-ea"/>
                <a:cs typeface="+mn-cs"/>
              </a:rPr>
              <a:t>Unique global premix network with strong representation in every region of the world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/>
              <a:t>Leading advances in precision farming analytical/diagnostic services such as </a:t>
            </a:r>
            <a:r>
              <a:rPr lang="en-US" sz="1200" err="1"/>
              <a:t>Sustell</a:t>
            </a:r>
            <a:r>
              <a:rPr lang="en-US" sz="1200"/>
              <a:t>™, </a:t>
            </a:r>
            <a:r>
              <a:rPr lang="en-US" sz="1200" err="1"/>
              <a:t>Verax</a:t>
            </a:r>
            <a:r>
              <a:rPr lang="en-US" sz="1200"/>
              <a:t> and Erber Diagnostics (Romer Labs®)</a:t>
            </a:r>
          </a:p>
        </p:txBody>
      </p:sp>
      <p:sp>
        <p:nvSpPr>
          <p:cNvPr id="789" name="Rectangle: Rounded Corners 788">
            <a:extLst>
              <a:ext uri="{FF2B5EF4-FFF2-40B4-BE49-F238E27FC236}">
                <a16:creationId xmlns:a16="http://schemas.microsoft.com/office/drawing/2014/main" id="{96298313-1E23-450D-8296-A11C74C111CF}"/>
              </a:ext>
            </a:extLst>
          </p:cNvPr>
          <p:cNvSpPr/>
          <p:nvPr/>
        </p:nvSpPr>
        <p:spPr>
          <a:xfrm>
            <a:off x="471880" y="1155573"/>
            <a:ext cx="11520000" cy="1440000"/>
          </a:xfrm>
          <a:prstGeom prst="roundRect">
            <a:avLst/>
          </a:prstGeom>
          <a:noFill/>
          <a:ln w="28575">
            <a:gradFill flip="none" rotWithShape="1">
              <a:gsLst>
                <a:gs pos="1361">
                  <a:schemeClr val="accent1">
                    <a:lumMod val="20000"/>
                    <a:lumOff val="80000"/>
                    <a:alpha val="0"/>
                  </a:schemeClr>
                </a:gs>
                <a:gs pos="29000">
                  <a:srgbClr val="007E4B">
                    <a:alpha val="60000"/>
                  </a:srgbClr>
                </a:gs>
                <a:gs pos="76000">
                  <a:srgbClr val="007E4B"/>
                </a:gs>
              </a:gsLst>
              <a:lin ang="10800000" scaled="1"/>
              <a:tileRect/>
            </a:gra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938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600A3A6-979B-4C26-855A-60D3A9140F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600A3A6-979B-4C26-855A-60D3A9140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 picture containing nature, blue, night sky&#10;&#10;Description automatically generated">
            <a:extLst>
              <a:ext uri="{FF2B5EF4-FFF2-40B4-BE49-F238E27FC236}">
                <a16:creationId xmlns:a16="http://schemas.microsoft.com/office/drawing/2014/main" id="{7C93A35E-81D1-4E5A-9DAE-4C0800B4900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l="17584" r="17584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8358B7-7F9C-4E14-9A0A-86B71B9E9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886397"/>
          </a:xfrm>
        </p:spPr>
        <p:txBody>
          <a:bodyPr vert="horz"/>
          <a:lstStyle/>
          <a:p>
            <a:r>
              <a:rPr lang="en-US" dirty="0"/>
              <a:t>Our aim as DSM is to partner the industry to enable radically more sustainable animal produc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EB979E-3E8E-4902-86F0-7937374E0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B2CA52E-1577-4522-8969-0026A38231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195" y="1636211"/>
            <a:ext cx="7330943" cy="437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249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F57ED89C-85D2-482D-BD7D-49D21DCF342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96460" y="1"/>
            <a:ext cx="4495540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90D191-E6F6-4F78-BE9B-D8235D220A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447098"/>
          </a:xfrm>
        </p:spPr>
        <p:txBody>
          <a:bodyPr/>
          <a:lstStyle/>
          <a:p>
            <a:r>
              <a:rPr lang="en-US" sz="1600"/>
              <a:t>Animal farming is a crucial source of nutrition for much of the world but accounts for 14.5% of all human-derived greenhouse gas emissions and this figure is set to rise</a:t>
            </a:r>
          </a:p>
          <a:p>
            <a:endParaRPr lang="en-US" sz="1600"/>
          </a:p>
          <a:p>
            <a:r>
              <a:rPr lang="en-US" sz="1600"/>
              <a:t>Our customers need transformational ways to produce nutrition and health for all within planetary boundaries</a:t>
            </a:r>
          </a:p>
          <a:p>
            <a:pPr marL="0" indent="0">
              <a:buNone/>
            </a:pPr>
            <a:endParaRPr lang="en-US" sz="1600"/>
          </a:p>
          <a:p>
            <a:r>
              <a:rPr lang="en-US" sz="1600"/>
              <a:t>A key area where we contribute is through scientific breakthroughs that reduce livestock emissions, with solutions including: </a:t>
            </a:r>
          </a:p>
          <a:p>
            <a:pPr lvl="1"/>
            <a:r>
              <a:rPr lang="en-US" sz="1200"/>
              <a:t>Bovaer®: reducing methane emission in ruminants by inhibiting specific gut enzymes</a:t>
            </a:r>
          </a:p>
          <a:p>
            <a:pPr lvl="1"/>
            <a:r>
              <a:rPr lang="en-US" sz="1200" err="1"/>
              <a:t>ProAct</a:t>
            </a:r>
            <a:r>
              <a:rPr lang="en-US" sz="1200"/>
              <a:t>: reducing nitrogen emissions in poultry by improving protein digestibility</a:t>
            </a:r>
          </a:p>
          <a:p>
            <a:pPr lvl="1"/>
            <a:r>
              <a:rPr lang="en-US" sz="1200" err="1"/>
              <a:t>VevoVitall</a:t>
            </a:r>
            <a:r>
              <a:rPr lang="en-US" sz="1200"/>
              <a:t>®: safe alternative to antibiotics while reducing ammonia emissions in swine</a:t>
            </a:r>
          </a:p>
          <a:p>
            <a:pPr lvl="1"/>
            <a:r>
              <a:rPr lang="en-US" sz="1200" err="1"/>
              <a:t>Sustell</a:t>
            </a:r>
            <a:r>
              <a:rPr lang="en-US" sz="1200"/>
              <a:t>™: Advanced digital service enabling farmers to measure their environmental footprint and identify opportunities for improvemen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EC0CF25-1E8B-4C65-ADB8-1DD77033E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6743124" cy="886397"/>
          </a:xfrm>
        </p:spPr>
        <p:txBody>
          <a:bodyPr/>
          <a:lstStyle/>
          <a:p>
            <a:r>
              <a:rPr lang="en-US">
                <a:solidFill>
                  <a:srgbClr val="007E4B"/>
                </a:solidFill>
              </a:rPr>
              <a:t>Making animal farming more sustainable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67DF16-5469-4D19-BB99-FECCDACCC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16</a:t>
            </a:fld>
            <a:endParaRPr lang="en-US" noProof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85B61A-75CC-4F13-ABC1-651AE3D35640}"/>
              </a:ext>
            </a:extLst>
          </p:cNvPr>
          <p:cNvGrpSpPr/>
          <p:nvPr/>
        </p:nvGrpSpPr>
        <p:grpSpPr>
          <a:xfrm>
            <a:off x="5411414" y="5816190"/>
            <a:ext cx="1502830" cy="708916"/>
            <a:chOff x="4889169" y="5570672"/>
            <a:chExt cx="2023302" cy="954434"/>
          </a:xfrm>
        </p:grpSpPr>
        <p:pic>
          <p:nvPicPr>
            <p:cNvPr id="10" name="Afbeelding 8">
              <a:extLst>
                <a:ext uri="{FF2B5EF4-FFF2-40B4-BE49-F238E27FC236}">
                  <a16:creationId xmlns:a16="http://schemas.microsoft.com/office/drawing/2014/main" id="{2BD1FF83-D610-4DD0-BFBB-4B3E1719EF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58037" y="5570672"/>
              <a:ext cx="954434" cy="954434"/>
            </a:xfrm>
            <a:prstGeom prst="rect">
              <a:avLst/>
            </a:prstGeom>
          </p:spPr>
        </p:pic>
        <p:pic>
          <p:nvPicPr>
            <p:cNvPr id="11" name="Afbeelding 3">
              <a:extLst>
                <a:ext uri="{FF2B5EF4-FFF2-40B4-BE49-F238E27FC236}">
                  <a16:creationId xmlns:a16="http://schemas.microsoft.com/office/drawing/2014/main" id="{F1F3EC58-3942-44F2-98F1-81DDE4492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89169" y="5570672"/>
              <a:ext cx="954434" cy="954434"/>
            </a:xfrm>
            <a:prstGeom prst="rect">
              <a:avLst/>
            </a:prstGeom>
          </p:spPr>
        </p:pic>
      </p:grpSp>
      <p:pic>
        <p:nvPicPr>
          <p:cNvPr id="12" name="Picture 11" descr="Icon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073CBE68-AD34-4135-A647-98D0BF68A01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5174" y="5814195"/>
            <a:ext cx="701150" cy="70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2520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/>
              <a:t>Taking full responsibility for our own footprint and peop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7DF82357-771F-4EB0-92AE-517852BC8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484CEA4-A5CD-49FA-A35D-E517E83A0545}"/>
              </a:ext>
            </a:extLst>
          </p:cNvPr>
          <p:cNvGrpSpPr/>
          <p:nvPr/>
        </p:nvGrpSpPr>
        <p:grpSpPr>
          <a:xfrm>
            <a:off x="318092" y="5173815"/>
            <a:ext cx="2202816" cy="847639"/>
            <a:chOff x="336342" y="5273980"/>
            <a:chExt cx="2202816" cy="8476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F13B155-F2B0-437D-9E3C-3BE5D2F0399E}"/>
                </a:ext>
              </a:extLst>
            </p:cNvPr>
            <p:cNvSpPr/>
            <p:nvPr/>
          </p:nvSpPr>
          <p:spPr>
            <a:xfrm>
              <a:off x="336342" y="5798454"/>
              <a:ext cx="2202816" cy="323165"/>
            </a:xfrm>
            <a:prstGeom prst="rect">
              <a:avLst/>
            </a:prstGeom>
            <a:noFill/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Arial" panose="020B0604020202020204" pitchFamily="34" charset="0"/>
                </a:rPr>
                <a:t>A for Climate A- for Water</a:t>
              </a:r>
            </a:p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Fira Sans" panose="020B05030500000200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FC262281-CBBC-4755-BF25-EBDDFDBFA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3720" y="5273980"/>
              <a:ext cx="1200970" cy="422341"/>
            </a:xfrm>
            <a:prstGeom prst="rect">
              <a:avLst/>
            </a:prstGeom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D12F5C0C-5C5A-40F5-BB4D-72AE8A53BCB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5057" y="5198298"/>
            <a:ext cx="976024" cy="79571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33FDAFF-53BA-40FE-B40D-DE8C131BA10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5814" y="5142370"/>
            <a:ext cx="497816" cy="90757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A7BD3AD-554A-43F3-8E86-196053B2852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8885" y="5222614"/>
            <a:ext cx="928267" cy="75004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BFC1330-0906-441E-B6DE-E3B79B3697F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0282" y="5231019"/>
            <a:ext cx="1195070" cy="73323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2D45B6DA-91E5-4A51-89EA-FA2B7B14CB87}"/>
              </a:ext>
            </a:extLst>
          </p:cNvPr>
          <p:cNvGrpSpPr/>
          <p:nvPr/>
        </p:nvGrpSpPr>
        <p:grpSpPr>
          <a:xfrm>
            <a:off x="8528927" y="5407302"/>
            <a:ext cx="2179862" cy="377706"/>
            <a:chOff x="8469000" y="5323077"/>
            <a:chExt cx="2179862" cy="37770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1C2F886-5252-45E3-99C6-1BC5B0E46A5F}"/>
                </a:ext>
              </a:extLst>
            </p:cNvPr>
            <p:cNvSpPr/>
            <p:nvPr/>
          </p:nvSpPr>
          <p:spPr>
            <a:xfrm>
              <a:off x="8678165" y="5546895"/>
              <a:ext cx="1970697" cy="153888"/>
            </a:xfrm>
            <a:prstGeom prst="rect">
              <a:avLst/>
            </a:prstGeom>
            <a:noFill/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Arial" panose="020B0604020202020204" pitchFamily="34" charset="0"/>
                </a:rPr>
                <a:t>Sector Leader</a:t>
              </a: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0A3C384B-5CFF-4508-BFFA-9474067620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69000" y="5323077"/>
              <a:ext cx="1362598" cy="270812"/>
            </a:xfrm>
            <a:prstGeom prst="rect">
              <a:avLst/>
            </a:prstGeom>
          </p:spPr>
        </p:pic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382FF6C3-5AF6-4BA8-AEC9-7BCD9766431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6208" y="5323033"/>
            <a:ext cx="1639415" cy="54920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4F2AF37-06D6-4430-8ED7-3677667E9A88}"/>
              </a:ext>
            </a:extLst>
          </p:cNvPr>
          <p:cNvGrpSpPr/>
          <p:nvPr/>
        </p:nvGrpSpPr>
        <p:grpSpPr>
          <a:xfrm>
            <a:off x="10273533" y="5388193"/>
            <a:ext cx="1600375" cy="418882"/>
            <a:chOff x="10291783" y="5288520"/>
            <a:chExt cx="1600375" cy="418882"/>
          </a:xfrm>
        </p:grpSpPr>
        <p:pic>
          <p:nvPicPr>
            <p:cNvPr id="28" name="Picture 2" descr="Moody&amp;#39;s ESG / Sustainable Finance">
              <a:extLst>
                <a:ext uri="{FF2B5EF4-FFF2-40B4-BE49-F238E27FC236}">
                  <a16:creationId xmlns:a16="http://schemas.microsoft.com/office/drawing/2014/main" id="{3086A81C-D187-4DED-87A3-242F9D10D7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91783" y="5288520"/>
              <a:ext cx="1600375" cy="263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2468DD7-4656-4946-B1D7-5EF52B2A7F5E}"/>
                </a:ext>
              </a:extLst>
            </p:cNvPr>
            <p:cNvSpPr/>
            <p:nvPr/>
          </p:nvSpPr>
          <p:spPr>
            <a:xfrm>
              <a:off x="10812483" y="5553514"/>
              <a:ext cx="929298" cy="153888"/>
            </a:xfrm>
            <a:prstGeom prst="rect">
              <a:avLst/>
            </a:prstGeom>
            <a:noFill/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478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Arial" panose="020B0604020202020204" pitchFamily="34" charset="0"/>
                </a:rPr>
                <a:t>Top ranking</a:t>
              </a:r>
            </a:p>
          </p:txBody>
        </p:sp>
      </p:grp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18019DA-66E4-44B5-B2E7-12B85DE09AC8}"/>
              </a:ext>
            </a:extLst>
          </p:cNvPr>
          <p:cNvSpPr>
            <a:spLocks noGrp="1"/>
          </p:cNvSpPr>
          <p:nvPr/>
        </p:nvSpPr>
        <p:spPr>
          <a:xfrm>
            <a:off x="460994" y="1388077"/>
            <a:ext cx="587449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ESG targets (set in 2019) accelerated in 2021 and again in 2022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003478"/>
              </a:solidFill>
              <a:effectLst/>
              <a:uLnTx/>
              <a:uFillTx/>
              <a:ea typeface="Fira Sans" panose="020B0503050000020004" pitchFamily="34" charset="0"/>
              <a:cs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6A2E02C-80A0-46C8-8F08-35198C37E1E6}"/>
              </a:ext>
            </a:extLst>
          </p:cNvPr>
          <p:cNvSpPr txBox="1"/>
          <p:nvPr/>
        </p:nvSpPr>
        <p:spPr>
          <a:xfrm>
            <a:off x="749124" y="3373720"/>
            <a:ext cx="10558948" cy="1061829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/>
              <a:t>Validated science-based target on Green House Gases emissions reduction (scope 1&amp;2) changed to 50% vs. 2016 baseline (was 30%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/>
              <a:t>Targeting NetZero GHG emissions across our operations and value chains by 2050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/>
              <a:t>Raised internal carbon price from €50 to €100 per mt of CO2 to further guide investments and operational decision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/>
              <a:t>Water reduction target set with 10% efficiency improvement on water-intake at sites in areas of water stress by 2030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3D468ECF-A383-4B84-8FE7-99EB62B9ADF6}"/>
              </a:ext>
            </a:extLst>
          </p:cNvPr>
          <p:cNvSpPr>
            <a:spLocks noGrp="1"/>
          </p:cNvSpPr>
          <p:nvPr/>
        </p:nvSpPr>
        <p:spPr>
          <a:xfrm>
            <a:off x="468000" y="4608609"/>
            <a:ext cx="49818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DSM top ranked in leading ESG-rating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2ED3B0C-DAB1-4949-B8C5-680234B23299}"/>
              </a:ext>
            </a:extLst>
          </p:cNvPr>
          <p:cNvGrpSpPr/>
          <p:nvPr/>
        </p:nvGrpSpPr>
        <p:grpSpPr>
          <a:xfrm>
            <a:off x="1308043" y="1862026"/>
            <a:ext cx="9282496" cy="1373681"/>
            <a:chOff x="1308043" y="1862026"/>
            <a:chExt cx="9282496" cy="137368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0CC91F0-E935-4663-A66C-E12AAC5E4E07}"/>
                </a:ext>
              </a:extLst>
            </p:cNvPr>
            <p:cNvSpPr/>
            <p:nvPr/>
          </p:nvSpPr>
          <p:spPr>
            <a:xfrm>
              <a:off x="1308043" y="1862026"/>
              <a:ext cx="1373681" cy="1373681"/>
            </a:xfrm>
            <a:prstGeom prst="ellipse">
              <a:avLst/>
            </a:pr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GHG emissions reduction </a:t>
              </a:r>
              <a:r>
                <a:rPr lang="en-US" sz="1200">
                  <a:solidFill>
                    <a:schemeClr val="bg1"/>
                  </a:solidFill>
                </a:rPr>
                <a:t>50% by 2030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FD2929B-E5FE-4402-AB36-584277522DEA}"/>
                </a:ext>
              </a:extLst>
            </p:cNvPr>
            <p:cNvSpPr/>
            <p:nvPr/>
          </p:nvSpPr>
          <p:spPr>
            <a:xfrm>
              <a:off x="2889806" y="1862026"/>
              <a:ext cx="1373681" cy="1373681"/>
            </a:xfrm>
            <a:prstGeom prst="ellipse">
              <a:avLst/>
            </a:pr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Energy efficiency </a:t>
              </a:r>
              <a:r>
                <a:rPr lang="en-US" sz="1200">
                  <a:solidFill>
                    <a:schemeClr val="bg1"/>
                  </a:solidFill>
                </a:rPr>
                <a:t>&gt;1% avg. p/yr. till 2030</a:t>
              </a:r>
              <a:endParaRPr lang="en-GB" sz="1200" err="1">
                <a:solidFill>
                  <a:schemeClr val="bg1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B55D222-3753-4296-9345-72FA96BAC501}"/>
                </a:ext>
              </a:extLst>
            </p:cNvPr>
            <p:cNvSpPr/>
            <p:nvPr/>
          </p:nvSpPr>
          <p:spPr>
            <a:xfrm>
              <a:off x="4471569" y="1862026"/>
              <a:ext cx="1373681" cy="1373681"/>
            </a:xfrm>
            <a:prstGeom prst="ellipse">
              <a:avLst/>
            </a:pr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Purchased renewable electricity </a:t>
              </a:r>
              <a:r>
                <a:rPr lang="en-US" sz="1200">
                  <a:solidFill>
                    <a:schemeClr val="bg1"/>
                  </a:solidFill>
                </a:rPr>
                <a:t>75% by 2030</a:t>
              </a:r>
              <a:endParaRPr lang="en-GB" sz="1200" err="1">
                <a:solidFill>
                  <a:schemeClr val="bg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A7073AA-AD3C-47E4-ACF0-C3EFD2D49574}"/>
                </a:ext>
              </a:extLst>
            </p:cNvPr>
            <p:cNvSpPr/>
            <p:nvPr/>
          </p:nvSpPr>
          <p:spPr>
            <a:xfrm>
              <a:off x="6053332" y="1862026"/>
              <a:ext cx="1373681" cy="1373681"/>
            </a:xfrm>
            <a:prstGeom prst="ellipse">
              <a:avLst/>
            </a:prstGeom>
            <a:solidFill>
              <a:srgbClr val="EE72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Employee engagement </a:t>
              </a:r>
            </a:p>
            <a:p>
              <a:pPr algn="ctr"/>
              <a:r>
                <a:rPr lang="en-US" sz="1200">
                  <a:solidFill>
                    <a:schemeClr val="bg1"/>
                  </a:solidFill>
                </a:rPr>
                <a:t>&gt;76% by</a:t>
              </a:r>
            </a:p>
            <a:p>
              <a:pPr algn="ctr"/>
              <a:r>
                <a:rPr lang="en-US" sz="1200">
                  <a:solidFill>
                    <a:schemeClr val="bg1"/>
                  </a:solidFill>
                </a:rPr>
                <a:t>2022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E3838CF-AAB8-4EF2-A0F6-084D174F6FF3}"/>
                </a:ext>
              </a:extLst>
            </p:cNvPr>
            <p:cNvSpPr/>
            <p:nvPr/>
          </p:nvSpPr>
          <p:spPr>
            <a:xfrm>
              <a:off x="7635095" y="1862026"/>
              <a:ext cx="1373681" cy="1373681"/>
            </a:xfrm>
            <a:prstGeom prst="ellipse">
              <a:avLst/>
            </a:prstGeom>
            <a:solidFill>
              <a:srgbClr val="EE72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Safety Frequency  Recordable Incidents</a:t>
              </a:r>
            </a:p>
            <a:p>
              <a:pPr algn="ctr"/>
              <a:r>
                <a:rPr lang="en-US" sz="1200">
                  <a:solidFill>
                    <a:schemeClr val="bg1"/>
                  </a:solidFill>
                </a:rPr>
                <a:t>&lt;0.20 by 2027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848F58B9-9B67-4F4B-89DF-9D1BEC831025}"/>
                </a:ext>
              </a:extLst>
            </p:cNvPr>
            <p:cNvSpPr/>
            <p:nvPr/>
          </p:nvSpPr>
          <p:spPr>
            <a:xfrm>
              <a:off x="9216858" y="1862026"/>
              <a:ext cx="1373681" cy="1373681"/>
            </a:xfrm>
            <a:prstGeom prst="ellipse">
              <a:avLst/>
            </a:prstGeom>
            <a:solidFill>
              <a:srgbClr val="EE72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</a:rPr>
                <a:t>Female executives 30</a:t>
              </a:r>
              <a:r>
                <a:rPr lang="en-US" sz="1200">
                  <a:solidFill>
                    <a:schemeClr val="bg1"/>
                  </a:solidFill>
                </a:rPr>
                <a:t>% by 2025</a:t>
              </a:r>
              <a:endParaRPr lang="en-GB" sz="12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99305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E892C3F-44EC-4CD8-BDDF-36DA27625AAE}"/>
              </a:ext>
            </a:extLst>
          </p:cNvPr>
          <p:cNvSpPr/>
          <p:nvPr/>
        </p:nvSpPr>
        <p:spPr>
          <a:xfrm>
            <a:off x="6064370" y="1338783"/>
            <a:ext cx="2858263" cy="4461032"/>
          </a:xfrm>
          <a:prstGeom prst="roundRect">
            <a:avLst>
              <a:gd name="adj" fmla="val 5483"/>
            </a:avLst>
          </a:prstGeom>
          <a:noFill/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3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rgbClr val="000000"/>
              </a:solidFill>
              <a:latin typeface="Fira San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5E1A5E7-4E1C-47B2-A957-A1A37C305C1E}"/>
              </a:ext>
            </a:extLst>
          </p:cNvPr>
          <p:cNvSpPr/>
          <p:nvPr/>
        </p:nvSpPr>
        <p:spPr>
          <a:xfrm>
            <a:off x="415000" y="1330520"/>
            <a:ext cx="2772453" cy="4448915"/>
          </a:xfrm>
          <a:prstGeom prst="roundRect">
            <a:avLst>
              <a:gd name="adj" fmla="val 5483"/>
            </a:avLst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3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BD509E57-822B-4052-841F-4015E8F129D3}"/>
              </a:ext>
            </a:extLst>
          </p:cNvPr>
          <p:cNvSpPr/>
          <p:nvPr/>
        </p:nvSpPr>
        <p:spPr>
          <a:xfrm>
            <a:off x="8936966" y="1350899"/>
            <a:ext cx="2886301" cy="4461032"/>
          </a:xfrm>
          <a:prstGeom prst="roundRect">
            <a:avLst>
              <a:gd name="adj" fmla="val 5483"/>
            </a:avLst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3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rgbClr val="000000"/>
              </a:solidFill>
              <a:latin typeface="Fira San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8000"/>
            <a:ext cx="11473630" cy="886397"/>
          </a:xfrm>
        </p:spPr>
        <p:txBody>
          <a:bodyPr/>
          <a:lstStyle/>
          <a:p>
            <a:r>
              <a:rPr lang="en-US"/>
              <a:t>Building a company that delivers long-term profitable growth</a:t>
            </a:r>
            <a:endParaRPr lang="en-US">
              <a:solidFill>
                <a:schemeClr val="accent3"/>
              </a:solidFill>
            </a:endParaRPr>
          </a:p>
        </p:txBody>
      </p:sp>
      <p:sp>
        <p:nvSpPr>
          <p:cNvPr id="53" name="Slide Number Placeholder 2">
            <a:extLst>
              <a:ext uri="{FF2B5EF4-FFF2-40B4-BE49-F238E27FC236}">
                <a16:creationId xmlns:a16="http://schemas.microsoft.com/office/drawing/2014/main" id="{9FCE1A32-D235-43CB-ACF4-BFB99F17C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5E1A196-9DD6-41B8-A0D2-0107E564C024}"/>
              </a:ext>
            </a:extLst>
          </p:cNvPr>
          <p:cNvSpPr/>
          <p:nvPr/>
        </p:nvSpPr>
        <p:spPr>
          <a:xfrm>
            <a:off x="435786" y="1398626"/>
            <a:ext cx="27337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Global food systems face hug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environmental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an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societal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challeng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and offer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opportunities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5D3EF567-25ED-4B8F-9FE9-8F8A24813356}"/>
              </a:ext>
            </a:extLst>
          </p:cNvPr>
          <p:cNvSpPr/>
          <p:nvPr/>
        </p:nvSpPr>
        <p:spPr>
          <a:xfrm>
            <a:off x="3191592" y="1350898"/>
            <a:ext cx="2858263" cy="4448916"/>
          </a:xfrm>
          <a:prstGeom prst="roundRect">
            <a:avLst>
              <a:gd name="adj" fmla="val 5737"/>
            </a:avLst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3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rgbClr val="000000"/>
              </a:solidFill>
              <a:latin typeface="Fira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3643E1D-4543-479F-A772-1468B94247C0}"/>
              </a:ext>
            </a:extLst>
          </p:cNvPr>
          <p:cNvSpPr/>
          <p:nvPr/>
        </p:nvSpPr>
        <p:spPr>
          <a:xfrm>
            <a:off x="3421451" y="1398626"/>
            <a:ext cx="24816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DSM is uniquely positioned and has th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capabiliti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to address these opportunitie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9B394A8-990D-46D2-BFD8-136942FD9F73}"/>
              </a:ext>
            </a:extLst>
          </p:cNvPr>
          <p:cNvSpPr/>
          <p:nvPr/>
        </p:nvSpPr>
        <p:spPr>
          <a:xfrm>
            <a:off x="6340415" y="1398626"/>
            <a:ext cx="22810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This create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purpose-le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positive impact for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peopl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an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plane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70B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D6BF08A-B39F-4852-8CDF-32DF12053011}"/>
              </a:ext>
            </a:extLst>
          </p:cNvPr>
          <p:cNvGrpSpPr/>
          <p:nvPr/>
        </p:nvGrpSpPr>
        <p:grpSpPr>
          <a:xfrm>
            <a:off x="3186802" y="3276355"/>
            <a:ext cx="6029419" cy="398817"/>
            <a:chOff x="3186802" y="3459864"/>
            <a:chExt cx="6029419" cy="398817"/>
          </a:xfrm>
        </p:grpSpPr>
        <p:sp>
          <p:nvSpPr>
            <p:cNvPr id="7" name="Isosceles Triangle 6">
              <a:extLst>
                <a:ext uri="{FF2B5EF4-FFF2-40B4-BE49-F238E27FC236}">
                  <a16:creationId xmlns:a16="http://schemas.microsoft.com/office/drawing/2014/main" id="{947DFC93-1C7A-4AFE-8C6C-29CC1F5C000D}"/>
                </a:ext>
              </a:extLst>
            </p:cNvPr>
            <p:cNvSpPr/>
            <p:nvPr/>
          </p:nvSpPr>
          <p:spPr>
            <a:xfrm rot="5400000">
              <a:off x="3134387" y="3512279"/>
              <a:ext cx="398817" cy="293988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2E33D2B0-DD48-4098-84B2-FBD4A4B19270}"/>
                </a:ext>
              </a:extLst>
            </p:cNvPr>
            <p:cNvSpPr/>
            <p:nvPr/>
          </p:nvSpPr>
          <p:spPr>
            <a:xfrm rot="5400000">
              <a:off x="5996601" y="3512279"/>
              <a:ext cx="398817" cy="293988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9CADBBD5-36C9-483E-B5F8-100309D8E9E7}"/>
                </a:ext>
              </a:extLst>
            </p:cNvPr>
            <p:cNvSpPr/>
            <p:nvPr/>
          </p:nvSpPr>
          <p:spPr>
            <a:xfrm rot="5400000">
              <a:off x="8869818" y="3512279"/>
              <a:ext cx="398817" cy="293988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34F583-4E24-4E1E-971B-AB4030BC26A6}"/>
              </a:ext>
            </a:extLst>
          </p:cNvPr>
          <p:cNvGrpSpPr/>
          <p:nvPr/>
        </p:nvGrpSpPr>
        <p:grpSpPr>
          <a:xfrm>
            <a:off x="9399433" y="2451908"/>
            <a:ext cx="2006464" cy="2830768"/>
            <a:chOff x="9399433" y="2451908"/>
            <a:chExt cx="2006464" cy="2830768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D5B3269-3282-4A01-BEAE-A25A7B550309}"/>
                </a:ext>
              </a:extLst>
            </p:cNvPr>
            <p:cNvSpPr/>
            <p:nvPr/>
          </p:nvSpPr>
          <p:spPr>
            <a:xfrm>
              <a:off x="9487186" y="2451908"/>
              <a:ext cx="1830958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Ambitious mid-term profit targets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ACDF28C-B22B-4C1F-A7BC-9340E8C63E06}"/>
                </a:ext>
              </a:extLst>
            </p:cNvPr>
            <p:cNvGrpSpPr/>
            <p:nvPr/>
          </p:nvGrpSpPr>
          <p:grpSpPr>
            <a:xfrm>
              <a:off x="9399433" y="3082833"/>
              <a:ext cx="2006464" cy="2199843"/>
              <a:chOff x="9376884" y="3267896"/>
              <a:chExt cx="2006464" cy="1695044"/>
            </a:xfrm>
            <a:effectLst/>
          </p:grpSpPr>
          <p:sp>
            <p:nvSpPr>
              <p:cNvPr id="39" name="Flowchart: Decision 70">
                <a:extLst>
                  <a:ext uri="{FF2B5EF4-FFF2-40B4-BE49-F238E27FC236}">
                    <a16:creationId xmlns:a16="http://schemas.microsoft.com/office/drawing/2014/main" id="{D3B1522E-96F6-4692-B396-972FD345504C}"/>
                  </a:ext>
                </a:extLst>
              </p:cNvPr>
              <p:cNvSpPr/>
              <p:nvPr/>
            </p:nvSpPr>
            <p:spPr>
              <a:xfrm>
                <a:off x="9376884" y="4479106"/>
                <a:ext cx="2006464" cy="483834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High-single-digit %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annual adj. EBITDA growth</a:t>
                </a:r>
              </a:p>
            </p:txBody>
          </p:sp>
          <p:sp>
            <p:nvSpPr>
              <p:cNvPr id="40" name="Flowchart: Decision 70">
                <a:extLst>
                  <a:ext uri="{FF2B5EF4-FFF2-40B4-BE49-F238E27FC236}">
                    <a16:creationId xmlns:a16="http://schemas.microsoft.com/office/drawing/2014/main" id="{1C513386-7284-4876-9CA5-DAAE93845E4A}"/>
                  </a:ext>
                </a:extLst>
              </p:cNvPr>
              <p:cNvSpPr/>
              <p:nvPr/>
            </p:nvSpPr>
            <p:spPr>
              <a:xfrm>
                <a:off x="9376884" y="3864852"/>
                <a:ext cx="2006464" cy="483834"/>
              </a:xfrm>
              <a:prstGeom prst="round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Adj. EBITDA margins &gt;20%</a:t>
                </a:r>
              </a:p>
            </p:txBody>
          </p:sp>
          <p:sp>
            <p:nvSpPr>
              <p:cNvPr id="41" name="Flowchart: Decision 70">
                <a:extLst>
                  <a:ext uri="{FF2B5EF4-FFF2-40B4-BE49-F238E27FC236}">
                    <a16:creationId xmlns:a16="http://schemas.microsoft.com/office/drawing/2014/main" id="{D34D84DA-321A-4BF8-9C09-A721B9EEF995}"/>
                  </a:ext>
                </a:extLst>
              </p:cNvPr>
              <p:cNvSpPr/>
              <p:nvPr/>
            </p:nvSpPr>
            <p:spPr>
              <a:xfrm>
                <a:off x="9376884" y="3267896"/>
                <a:ext cx="2006464" cy="483834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Mid-single-digit %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organic sales growth </a:t>
                </a:r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9DE05F5-6E96-4635-AE1A-E5BB8911951A}"/>
              </a:ext>
            </a:extLst>
          </p:cNvPr>
          <p:cNvGrpSpPr/>
          <p:nvPr/>
        </p:nvGrpSpPr>
        <p:grpSpPr>
          <a:xfrm>
            <a:off x="479557" y="3070292"/>
            <a:ext cx="2646249" cy="1736236"/>
            <a:chOff x="545343" y="2822974"/>
            <a:chExt cx="2646249" cy="1736236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B5FACE15-6041-4653-B26B-ED4DF36ADFD8}"/>
                </a:ext>
              </a:extLst>
            </p:cNvPr>
            <p:cNvPicPr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16597" y="3701240"/>
              <a:ext cx="804239" cy="536159"/>
            </a:xfrm>
            <a:prstGeom prst="rect">
              <a:avLst/>
            </a:prstGeom>
            <a:effectLst/>
          </p:spPr>
        </p:pic>
        <p:sp>
          <p:nvSpPr>
            <p:cNvPr id="68" name="TextBox 13">
              <a:extLst>
                <a:ext uri="{FF2B5EF4-FFF2-40B4-BE49-F238E27FC236}">
                  <a16:creationId xmlns:a16="http://schemas.microsoft.com/office/drawing/2014/main" id="{5D8D1D89-94AC-4602-964E-8388CA341354}"/>
                </a:ext>
              </a:extLst>
            </p:cNvPr>
            <p:cNvSpPr txBox="1"/>
            <p:nvPr/>
          </p:nvSpPr>
          <p:spPr>
            <a:xfrm>
              <a:off x="2203911" y="4264452"/>
              <a:ext cx="987681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Precision &amp; Personalization</a:t>
              </a: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34E1616F-1D54-4B4C-8C3C-8C803D45ED75}"/>
                </a:ext>
              </a:extLst>
            </p:cNvPr>
            <p:cNvPicPr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30895" y="3701190"/>
              <a:ext cx="804389" cy="536259"/>
            </a:xfrm>
            <a:prstGeom prst="rect">
              <a:avLst/>
            </a:prstGeom>
            <a:effectLst/>
          </p:spPr>
        </p:pic>
        <p:sp>
          <p:nvSpPr>
            <p:cNvPr id="66" name="TextBox 12">
              <a:extLst>
                <a:ext uri="{FF2B5EF4-FFF2-40B4-BE49-F238E27FC236}">
                  <a16:creationId xmlns:a16="http://schemas.microsoft.com/office/drawing/2014/main" id="{D15545A9-E86B-4033-93F5-EE5387C99F6F}"/>
                </a:ext>
              </a:extLst>
            </p:cNvPr>
            <p:cNvSpPr txBox="1"/>
            <p:nvPr/>
          </p:nvSpPr>
          <p:spPr>
            <a:xfrm>
              <a:off x="1432180" y="4282211"/>
              <a:ext cx="793428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Data &amp; </a:t>
              </a:r>
              <a:br>
                <a:rPr kumimoji="0" lang="en-GB" sz="9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</a:br>
              <a:r>
                <a:rPr kumimoji="0" lang="en-GB" sz="900" i="0" u="none" strike="noStrike" kern="1200" cap="none" normalizeH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Digital</a:t>
              </a:r>
            </a:p>
          </p:txBody>
        </p: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F68F46FF-A997-43C0-BD6F-A11B591C1603}"/>
                </a:ext>
              </a:extLst>
            </p:cNvPr>
            <p:cNvPicPr>
              <a:picLocks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5343" y="3701240"/>
              <a:ext cx="804239" cy="536159"/>
            </a:xfrm>
            <a:prstGeom prst="rect">
              <a:avLst/>
            </a:prstGeom>
            <a:effectLst/>
          </p:spPr>
        </p:pic>
        <p:sp>
          <p:nvSpPr>
            <p:cNvPr id="70" name="TextBox 24">
              <a:extLst>
                <a:ext uri="{FF2B5EF4-FFF2-40B4-BE49-F238E27FC236}">
                  <a16:creationId xmlns:a16="http://schemas.microsoft.com/office/drawing/2014/main" id="{FD791C8C-C05F-4109-BEF6-87C5CA31E043}"/>
                </a:ext>
              </a:extLst>
            </p:cNvPr>
            <p:cNvSpPr txBox="1"/>
            <p:nvPr/>
          </p:nvSpPr>
          <p:spPr>
            <a:xfrm>
              <a:off x="565145" y="4282211"/>
              <a:ext cx="764633" cy="276999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Biotechnology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en-GB" sz="900">
                  <a:solidFill>
                    <a:schemeClr val="accent3"/>
                  </a:solidFill>
                  <a:latin typeface="Fira Sans"/>
                </a:rPr>
                <a:t>breakthroughs</a:t>
              </a:r>
              <a:endParaRPr kumimoji="0" lang="en-GB" sz="900" i="0" u="none" strike="noStrike" kern="1200" cap="none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sp>
          <p:nvSpPr>
            <p:cNvPr id="81" name="TextBox 13">
              <a:extLst>
                <a:ext uri="{FF2B5EF4-FFF2-40B4-BE49-F238E27FC236}">
                  <a16:creationId xmlns:a16="http://schemas.microsoft.com/office/drawing/2014/main" id="{A1BFB074-DA5C-4010-8B25-6567803CEC8E}"/>
                </a:ext>
              </a:extLst>
            </p:cNvPr>
            <p:cNvSpPr txBox="1"/>
            <p:nvPr/>
          </p:nvSpPr>
          <p:spPr>
            <a:xfrm>
              <a:off x="2383689" y="3389230"/>
              <a:ext cx="67005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Environment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9E27AA8-845A-4711-8C1B-00A9FD7710AD}"/>
                </a:ext>
              </a:extLst>
            </p:cNvPr>
            <p:cNvGrpSpPr/>
            <p:nvPr/>
          </p:nvGrpSpPr>
          <p:grpSpPr>
            <a:xfrm>
              <a:off x="2316597" y="2822974"/>
              <a:ext cx="804239" cy="536159"/>
              <a:chOff x="16807270" y="1576689"/>
              <a:chExt cx="1571106" cy="1047404"/>
            </a:xfrm>
          </p:grpSpPr>
          <p:pic>
            <p:nvPicPr>
              <p:cNvPr id="77" name="Picture 10">
                <a:extLst>
                  <a:ext uri="{FF2B5EF4-FFF2-40B4-BE49-F238E27FC236}">
                    <a16:creationId xmlns:a16="http://schemas.microsoft.com/office/drawing/2014/main" id="{4F6A28F9-4890-44A4-8B7D-2D165C88A6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807270" y="1576689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84" name="Picture 9" descr="Goal 12 | Department of Economic and Social Affairs">
                <a:extLst>
                  <a:ext uri="{FF2B5EF4-FFF2-40B4-BE49-F238E27FC236}">
                    <a16:creationId xmlns:a16="http://schemas.microsoft.com/office/drawing/2014/main" id="{B9133A0A-D7F6-4D90-AC0A-95AFB68071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844654" y="1614962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5" name="Picture 11" descr="Goal 13 | Department of Economic and Social Affairs">
                <a:extLst>
                  <a:ext uri="{FF2B5EF4-FFF2-40B4-BE49-F238E27FC236}">
                    <a16:creationId xmlns:a16="http://schemas.microsoft.com/office/drawing/2014/main" id="{444B3AD2-72D6-47B7-9BBF-AF7B9FBF9A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844654" y="2110262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35B14FF-D028-4BCE-A258-E2145A0F9C95}"/>
                </a:ext>
              </a:extLst>
            </p:cNvPr>
            <p:cNvGrpSpPr/>
            <p:nvPr/>
          </p:nvGrpSpPr>
          <p:grpSpPr>
            <a:xfrm>
              <a:off x="545343" y="2822974"/>
              <a:ext cx="804239" cy="536159"/>
              <a:chOff x="13075096" y="1576689"/>
              <a:chExt cx="1571106" cy="1047404"/>
            </a:xfrm>
          </p:grpSpPr>
          <p:pic>
            <p:nvPicPr>
              <p:cNvPr id="78" name="Picture 11">
                <a:extLst>
                  <a:ext uri="{FF2B5EF4-FFF2-40B4-BE49-F238E27FC236}">
                    <a16:creationId xmlns:a16="http://schemas.microsoft.com/office/drawing/2014/main" id="{0998E20B-F5B2-48E7-A27E-C5A4E08CA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3075096" y="1576689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82" name="Picture 4" descr="Goal 3 | Department of Economic and Social Affairs">
                <a:extLst>
                  <a:ext uri="{FF2B5EF4-FFF2-40B4-BE49-F238E27FC236}">
                    <a16:creationId xmlns:a16="http://schemas.microsoft.com/office/drawing/2014/main" id="{27EBC1A0-E828-49A6-8115-3DB364C1F70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111739" y="1614962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6" name="TextBox 24">
              <a:extLst>
                <a:ext uri="{FF2B5EF4-FFF2-40B4-BE49-F238E27FC236}">
                  <a16:creationId xmlns:a16="http://schemas.microsoft.com/office/drawing/2014/main" id="{0BF37D22-5144-4B29-A100-5370EC1334D8}"/>
                </a:ext>
              </a:extLst>
            </p:cNvPr>
            <p:cNvSpPr txBox="1"/>
            <p:nvPr/>
          </p:nvSpPr>
          <p:spPr>
            <a:xfrm>
              <a:off x="685085" y="3399822"/>
              <a:ext cx="528991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Consumer</a:t>
              </a:r>
            </a:p>
          </p:txBody>
        </p:sp>
        <p:sp>
          <p:nvSpPr>
            <p:cNvPr id="80" name="TextBox 12">
              <a:extLst>
                <a:ext uri="{FF2B5EF4-FFF2-40B4-BE49-F238E27FC236}">
                  <a16:creationId xmlns:a16="http://schemas.microsoft.com/office/drawing/2014/main" id="{2064E360-5AF9-4207-BA7D-9F651922B4C5}"/>
                </a:ext>
              </a:extLst>
            </p:cNvPr>
            <p:cNvSpPr txBox="1"/>
            <p:nvPr/>
          </p:nvSpPr>
          <p:spPr>
            <a:xfrm>
              <a:off x="1640185" y="3399822"/>
              <a:ext cx="387927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Society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ED39596-8F0B-4BFA-8231-3DC7B6E9E9DB}"/>
                </a:ext>
              </a:extLst>
            </p:cNvPr>
            <p:cNvGrpSpPr/>
            <p:nvPr/>
          </p:nvGrpSpPr>
          <p:grpSpPr>
            <a:xfrm>
              <a:off x="1430970" y="2822974"/>
              <a:ext cx="804239" cy="536159"/>
              <a:chOff x="14941183" y="1576689"/>
              <a:chExt cx="1571106" cy="1047404"/>
            </a:xfrm>
          </p:grpSpPr>
          <p:pic>
            <p:nvPicPr>
              <p:cNvPr id="76" name="Picture 9">
                <a:extLst>
                  <a:ext uri="{FF2B5EF4-FFF2-40B4-BE49-F238E27FC236}">
                    <a16:creationId xmlns:a16="http://schemas.microsoft.com/office/drawing/2014/main" id="{BAEE0A39-0EEE-40F4-B392-458C673DCD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4941183" y="1576689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83" name="Picture 6" descr="Goal 2 | Department of Economic and Social Affairs">
                <a:extLst>
                  <a:ext uri="{FF2B5EF4-FFF2-40B4-BE49-F238E27FC236}">
                    <a16:creationId xmlns:a16="http://schemas.microsoft.com/office/drawing/2014/main" id="{04CC053F-A216-4267-B184-FAD06D41D2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67021" y="1614963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7" name="Picture 4" descr="Goal 3 | Department of Economic and Social Affairs">
                <a:extLst>
                  <a:ext uri="{FF2B5EF4-FFF2-40B4-BE49-F238E27FC236}">
                    <a16:creationId xmlns:a16="http://schemas.microsoft.com/office/drawing/2014/main" id="{A02D643E-7EE2-45CB-8723-55A2E95981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58467" y="2118169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2FC05D45-6736-4812-83E3-A732829B2149}"/>
              </a:ext>
            </a:extLst>
          </p:cNvPr>
          <p:cNvSpPr/>
          <p:nvPr/>
        </p:nvSpPr>
        <p:spPr>
          <a:xfrm>
            <a:off x="9081329" y="1398626"/>
            <a:ext cx="26426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70BA"/>
                </a:solidFill>
              </a:rPr>
              <a:t>Building a company that delivers long-term,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performance-drive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profitable growth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185C8CB-F623-4C05-A7C0-114A7506B2C4}"/>
              </a:ext>
            </a:extLst>
          </p:cNvPr>
          <p:cNvSpPr/>
          <p:nvPr/>
        </p:nvSpPr>
        <p:spPr>
          <a:xfrm>
            <a:off x="3498172" y="5137121"/>
            <a:ext cx="225029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reat People, unique Cultur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2B42852-E391-438E-A9E6-D8234AFC5FE8}"/>
              </a:ext>
            </a:extLst>
          </p:cNvPr>
          <p:cNvSpPr/>
          <p:nvPr/>
        </p:nvSpPr>
        <p:spPr>
          <a:xfrm>
            <a:off x="6063782" y="2267710"/>
            <a:ext cx="2834336" cy="21236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tx1"/>
                </a:solidFill>
              </a:rPr>
              <a:t>Responsibility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for our own </a:t>
            </a:r>
            <a:r>
              <a:rPr lang="en-US" sz="1200">
                <a:solidFill>
                  <a:schemeClr val="tx1"/>
                </a:solidFill>
              </a:rPr>
              <a:t>footprint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nd people</a:t>
            </a:r>
            <a:b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b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000000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aring for the world with</a:t>
            </a:r>
            <a:r>
              <a:rPr lang="en-US" sz="1200">
                <a:solidFill>
                  <a:srgbClr val="000000"/>
                </a:solidFill>
              </a:rPr>
              <a:t> measurable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food systems commitments</a:t>
            </a:r>
            <a:b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Flowchart: Decision 69">
            <a:extLst>
              <a:ext uri="{FF2B5EF4-FFF2-40B4-BE49-F238E27FC236}">
                <a16:creationId xmlns:a16="http://schemas.microsoft.com/office/drawing/2014/main" id="{20171BB1-58E2-47CA-BBF3-1B019505502A}"/>
              </a:ext>
            </a:extLst>
          </p:cNvPr>
          <p:cNvSpPr/>
          <p:nvPr/>
        </p:nvSpPr>
        <p:spPr>
          <a:xfrm>
            <a:off x="7099006" y="4266219"/>
            <a:ext cx="792000" cy="489912"/>
          </a:xfrm>
          <a:prstGeom prst="roundRect">
            <a:avLst/>
          </a:prstGeom>
          <a:solidFill>
            <a:srgbClr val="45AC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ealth f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lanet</a:t>
            </a:r>
          </a:p>
        </p:txBody>
      </p:sp>
      <p:sp>
        <p:nvSpPr>
          <p:cNvPr id="36" name="Flowchart: Decision 70">
            <a:extLst>
              <a:ext uri="{FF2B5EF4-FFF2-40B4-BE49-F238E27FC236}">
                <a16:creationId xmlns:a16="http://schemas.microsoft.com/office/drawing/2014/main" id="{E9F277E8-3951-4673-B5EB-266997A201D0}"/>
              </a:ext>
            </a:extLst>
          </p:cNvPr>
          <p:cNvSpPr/>
          <p:nvPr/>
        </p:nvSpPr>
        <p:spPr>
          <a:xfrm>
            <a:off x="6217900" y="4266219"/>
            <a:ext cx="792000" cy="489912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ealth f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eople</a:t>
            </a:r>
          </a:p>
        </p:txBody>
      </p:sp>
      <p:sp>
        <p:nvSpPr>
          <p:cNvPr id="37" name="Flowchart: Decision 71">
            <a:extLst>
              <a:ext uri="{FF2B5EF4-FFF2-40B4-BE49-F238E27FC236}">
                <a16:creationId xmlns:a16="http://schemas.microsoft.com/office/drawing/2014/main" id="{EFB84720-1A56-4434-87DB-F573E0C21EE9}"/>
              </a:ext>
            </a:extLst>
          </p:cNvPr>
          <p:cNvSpPr/>
          <p:nvPr/>
        </p:nvSpPr>
        <p:spPr>
          <a:xfrm>
            <a:off x="7952001" y="4266219"/>
            <a:ext cx="792000" cy="489912"/>
          </a:xfrm>
          <a:prstGeom prst="roundRect">
            <a:avLst/>
          </a:prstGeom>
          <a:solidFill>
            <a:srgbClr val="BD0A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ealth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Livelihoods </a:t>
            </a:r>
          </a:p>
        </p:txBody>
      </p:sp>
      <p:pic>
        <p:nvPicPr>
          <p:cNvPr id="57" name="Picture 5" descr="Sustainable Development Goals | AOC Monitors">
            <a:extLst>
              <a:ext uri="{FF2B5EF4-FFF2-40B4-BE49-F238E27FC236}">
                <a16:creationId xmlns:a16="http://schemas.microsoft.com/office/drawing/2014/main" id="{B2108F54-D4B9-46D9-A6E3-1E13A42C41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6403" y="4746700"/>
            <a:ext cx="1164492" cy="1164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B0BEC0C9-9CE6-4488-99FE-310BF80A6439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9637" y="2810830"/>
            <a:ext cx="2047361" cy="2223110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9123857-0076-47A4-B799-299B282D4FC2}"/>
              </a:ext>
            </a:extLst>
          </p:cNvPr>
          <p:cNvSpPr/>
          <p:nvPr/>
        </p:nvSpPr>
        <p:spPr>
          <a:xfrm>
            <a:off x="3498172" y="2430651"/>
            <a:ext cx="225029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ich innovation pipe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CA18367-005B-4997-B683-FF5445A7B5A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412096" y="2810830"/>
            <a:ext cx="2137708" cy="31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3519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B9551F-4E56-49A9-8E2E-1D6DE1C11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B9551F-4E56-49A9-8E2E-1D6DE1C11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0B1AD25B-D870-F94D-BDA1-27A7E0F03DD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5087" cy="685799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noFill/>
          <a:ln>
            <a:noFill/>
          </a:ln>
          <a:effectLst/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3892F45-F4FF-7847-894A-CCC161E1E08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08" b="38179"/>
          <a:stretch/>
        </p:blipFill>
        <p:spPr>
          <a:xfrm>
            <a:off x="0" y="0"/>
            <a:ext cx="97200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E4DC7B-C674-8E46-950C-B8891639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694F6CF1-3AC4-524E-BDD7-F9B544F41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000" y="2005631"/>
            <a:ext cx="6124489" cy="2177134"/>
          </a:xfrm>
        </p:spPr>
        <p:txBody>
          <a:bodyPr vert="horz"/>
          <a:lstStyle/>
          <a:p>
            <a:pPr>
              <a:lnSpc>
                <a:spcPct val="112000"/>
              </a:lnSpc>
            </a:pPr>
            <a:r>
              <a:rPr lang="en-US" dirty="0">
                <a:latin typeface="Fira Sans Light" panose="020B0403050000020004" pitchFamily="34" charset="0"/>
              </a:rPr>
              <a:t>We’re helping the industry meet this complex challenge, </a:t>
            </a:r>
            <a:r>
              <a:rPr lang="en-US" dirty="0">
                <a:latin typeface="Fira Sans Medium" panose="020B0503050000020004" pitchFamily="34" charset="0"/>
              </a:rPr>
              <a:t>by offering our customers a true end-to-end portfolio</a:t>
            </a:r>
            <a:endParaRPr lang="en-US" noProof="0" dirty="0">
              <a:solidFill>
                <a:schemeClr val="bg1"/>
              </a:solidFill>
              <a:latin typeface="Fira Sans Medium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627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E0FA2F0-AD70-456D-97BE-C4684CF98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429" imgH="429" progId="TCLayout.ActiveDocument.1">
                  <p:embed/>
                </p:oleObj>
              </mc:Choice>
              <mc:Fallback>
                <p:oleObj name="think-cell Slide" r:id="rId6" imgW="429" imgH="42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E0FA2F0-AD70-456D-97BE-C4684CF98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3AF8B50-DA72-4D2D-A2F6-AE55B35B3A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31FE367-5C83-4339-A0C7-A8EC742D9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re than a century of successful</a:t>
            </a:r>
            <a:r>
              <a:rPr lang="en-US" noProof="0"/>
              <a:t> transformation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6995927-DC8D-42BB-A94C-05BA24234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</a:t>
            </a:fld>
            <a:endParaRPr lang="en-US" noProof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25AA239-1B8B-4226-9F11-0CB9828A4808}"/>
              </a:ext>
            </a:extLst>
          </p:cNvPr>
          <p:cNvGrpSpPr/>
          <p:nvPr/>
        </p:nvGrpSpPr>
        <p:grpSpPr>
          <a:xfrm>
            <a:off x="551717" y="1349292"/>
            <a:ext cx="11088565" cy="4075988"/>
            <a:chOff x="713916" y="1349292"/>
            <a:chExt cx="11088565" cy="4075988"/>
          </a:xfrm>
        </p:grpSpPr>
        <p:pic>
          <p:nvPicPr>
            <p:cNvPr id="17473" name="Picture 65">
              <a:extLst>
                <a:ext uri="{FF2B5EF4-FFF2-40B4-BE49-F238E27FC236}">
                  <a16:creationId xmlns:a16="http://schemas.microsoft.com/office/drawing/2014/main" id="{279CF519-F98A-4A7A-9BF9-0EE559328A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0634" y="1962450"/>
              <a:ext cx="3628840" cy="2434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2" name="Right Triangle 61">
              <a:extLst>
                <a:ext uri="{FF2B5EF4-FFF2-40B4-BE49-F238E27FC236}">
                  <a16:creationId xmlns:a16="http://schemas.microsoft.com/office/drawing/2014/main" id="{91A55DAE-E983-4749-90B4-502AD5A45020}"/>
                </a:ext>
              </a:extLst>
            </p:cNvPr>
            <p:cNvSpPr/>
            <p:nvPr/>
          </p:nvSpPr>
          <p:spPr>
            <a:xfrm flipH="1">
              <a:off x="3358209" y="3856859"/>
              <a:ext cx="3524377" cy="748519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7472" name="Picture 64">
              <a:extLst>
                <a:ext uri="{FF2B5EF4-FFF2-40B4-BE49-F238E27FC236}">
                  <a16:creationId xmlns:a16="http://schemas.microsoft.com/office/drawing/2014/main" id="{7370D2DC-D0A6-4AFE-8AA4-CAF7B0B5348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64599" y="1962450"/>
              <a:ext cx="2195067" cy="321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1FF5EDF7-AA62-4499-8EE1-DF4E1D48D1DD}"/>
                </a:ext>
              </a:extLst>
            </p:cNvPr>
            <p:cNvSpPr/>
            <p:nvPr/>
          </p:nvSpPr>
          <p:spPr>
            <a:xfrm flipH="1">
              <a:off x="872826" y="4371080"/>
              <a:ext cx="2515821" cy="79724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9" name="TextBox 37">
              <a:extLst>
                <a:ext uri="{FF2B5EF4-FFF2-40B4-BE49-F238E27FC236}">
                  <a16:creationId xmlns:a16="http://schemas.microsoft.com/office/drawing/2014/main" id="{66EF582C-56DE-4A94-82B7-96B798E8C81E}"/>
                </a:ext>
              </a:extLst>
            </p:cNvPr>
            <p:cNvSpPr txBox="1"/>
            <p:nvPr/>
          </p:nvSpPr>
          <p:spPr>
            <a:xfrm>
              <a:off x="1421572" y="1467759"/>
              <a:ext cx="12811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tx1">
                      <a:lumMod val="50000"/>
                      <a:lumOff val="50000"/>
                    </a:schemeClr>
                  </a:solidFill>
                  <a:cs typeface="Arial" charset="0"/>
                </a:rPr>
                <a:t>Coal mining</a:t>
              </a:r>
            </a:p>
          </p:txBody>
        </p:sp>
        <p:sp>
          <p:nvSpPr>
            <p:cNvPr id="11" name="TextBox 39">
              <a:extLst>
                <a:ext uri="{FF2B5EF4-FFF2-40B4-BE49-F238E27FC236}">
                  <a16:creationId xmlns:a16="http://schemas.microsoft.com/office/drawing/2014/main" id="{19EAE0B6-6F87-4954-8CF2-0CDBAD2F53E7}"/>
                </a:ext>
              </a:extLst>
            </p:cNvPr>
            <p:cNvSpPr txBox="1"/>
            <p:nvPr/>
          </p:nvSpPr>
          <p:spPr>
            <a:xfrm>
              <a:off x="4072441" y="1467759"/>
              <a:ext cx="176522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chemeClr val="accent3"/>
                  </a:solidFill>
                  <a:cs typeface="Arial" charset="0"/>
                </a:rPr>
                <a:t>(Petro)chemicals</a:t>
              </a:r>
            </a:p>
          </p:txBody>
        </p:sp>
        <p:sp>
          <p:nvSpPr>
            <p:cNvPr id="12" name="TextBox 40">
              <a:extLst>
                <a:ext uri="{FF2B5EF4-FFF2-40B4-BE49-F238E27FC236}">
                  <a16:creationId xmlns:a16="http://schemas.microsoft.com/office/drawing/2014/main" id="{486F181B-8DBB-4D86-AFF9-B16C3BD5AFE5}"/>
                </a:ext>
              </a:extLst>
            </p:cNvPr>
            <p:cNvSpPr txBox="1"/>
            <p:nvPr/>
          </p:nvSpPr>
          <p:spPr>
            <a:xfrm>
              <a:off x="6769474" y="1349292"/>
              <a:ext cx="210025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>
                  <a:solidFill>
                    <a:srgbClr val="218C7B"/>
                  </a:solidFill>
                  <a:cs typeface="Arial" charset="0"/>
                </a:rPr>
                <a:t>Nutrition, Health </a:t>
              </a:r>
            </a:p>
            <a:p>
              <a:r>
                <a:rPr lang="en-US" sz="1600" b="1">
                  <a:solidFill>
                    <a:srgbClr val="218C7B"/>
                  </a:solidFill>
                  <a:cs typeface="Arial" charset="0"/>
                </a:rPr>
                <a:t>&amp; Sustainable Living</a:t>
              </a:r>
            </a:p>
          </p:txBody>
        </p:sp>
        <p:pic>
          <p:nvPicPr>
            <p:cNvPr id="17468" name="Picture 60">
              <a:extLst>
                <a:ext uri="{FF2B5EF4-FFF2-40B4-BE49-F238E27FC236}">
                  <a16:creationId xmlns:a16="http://schemas.microsoft.com/office/drawing/2014/main" id="{5775A596-D783-440F-AE3F-1AD863A01E1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6437"/>
            <a:stretch/>
          </p:blipFill>
          <p:spPr bwMode="auto">
            <a:xfrm>
              <a:off x="6813883" y="1962450"/>
              <a:ext cx="1501442" cy="1803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69" name="Picture 61">
              <a:extLst>
                <a:ext uri="{FF2B5EF4-FFF2-40B4-BE49-F238E27FC236}">
                  <a16:creationId xmlns:a16="http://schemas.microsoft.com/office/drawing/2014/main" id="{3D8DACDB-5418-4A6B-84E4-8CC671B066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15326" y="1962450"/>
              <a:ext cx="1545850" cy="1770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70" name="Picture 62">
              <a:extLst>
                <a:ext uri="{FF2B5EF4-FFF2-40B4-BE49-F238E27FC236}">
                  <a16:creationId xmlns:a16="http://schemas.microsoft.com/office/drawing/2014/main" id="{77BE69C7-4C30-480B-BBEF-FF1A98C3DA4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1"/>
            <a:stretch/>
          </p:blipFill>
          <p:spPr bwMode="auto">
            <a:xfrm>
              <a:off x="9844260" y="1962450"/>
              <a:ext cx="1528934" cy="1640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7" name="Line 67">
              <a:extLst>
                <a:ext uri="{FF2B5EF4-FFF2-40B4-BE49-F238E27FC236}">
                  <a16:creationId xmlns:a16="http://schemas.microsoft.com/office/drawing/2014/main" id="{7E35CC3A-3B12-4E95-8B21-9B4EDDC8D2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0634" y="1977254"/>
              <a:ext cx="0" cy="2366360"/>
            </a:xfrm>
            <a:prstGeom prst="line">
              <a:avLst/>
            </a:prstGeom>
            <a:noFill/>
            <a:ln w="333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69" name="Line 69">
              <a:extLst>
                <a:ext uri="{FF2B5EF4-FFF2-40B4-BE49-F238E27FC236}">
                  <a16:creationId xmlns:a16="http://schemas.microsoft.com/office/drawing/2014/main" id="{908C0EC9-639B-44EE-96F2-17872C6800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15326" y="1877864"/>
              <a:ext cx="0" cy="2059726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70" name="Line 70">
              <a:extLst>
                <a:ext uri="{FF2B5EF4-FFF2-40B4-BE49-F238E27FC236}">
                  <a16:creationId xmlns:a16="http://schemas.microsoft.com/office/drawing/2014/main" id="{62DDD1CE-61E4-48D7-8CC0-A7E4CE3DAD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844261" y="1877864"/>
              <a:ext cx="0" cy="187363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pic>
          <p:nvPicPr>
            <p:cNvPr id="17504" name="Picture 96">
              <a:extLst>
                <a:ext uri="{FF2B5EF4-FFF2-40B4-BE49-F238E27FC236}">
                  <a16:creationId xmlns:a16="http://schemas.microsoft.com/office/drawing/2014/main" id="{F90504D8-CB36-42BE-9CC2-3FD51AE263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6855" y="4698882"/>
              <a:ext cx="2150286" cy="389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505" name="Picture 97">
              <a:extLst>
                <a:ext uri="{FF2B5EF4-FFF2-40B4-BE49-F238E27FC236}">
                  <a16:creationId xmlns:a16="http://schemas.microsoft.com/office/drawing/2014/main" id="{1BBCF963-0D7D-42F6-A0A2-285D706C38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99756" y="4326694"/>
              <a:ext cx="2338236" cy="1029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75" name="Freeform 99">
              <a:extLst>
                <a:ext uri="{FF2B5EF4-FFF2-40B4-BE49-F238E27FC236}">
                  <a16:creationId xmlns:a16="http://schemas.microsoft.com/office/drawing/2014/main" id="{A78B9D64-DDF0-4746-AF89-7414440F2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716" y="3157262"/>
              <a:ext cx="10964765" cy="2059726"/>
            </a:xfrm>
            <a:custGeom>
              <a:avLst/>
              <a:gdLst>
                <a:gd name="T0" fmla="*/ 0 w 11696"/>
                <a:gd name="T1" fmla="*/ 2192 h 2192"/>
                <a:gd name="T2" fmla="*/ 11148 w 11696"/>
                <a:gd name="T3" fmla="*/ 274 h 2192"/>
                <a:gd name="T4" fmla="*/ 11118 w 11696"/>
                <a:gd name="T5" fmla="*/ 0 h 2192"/>
                <a:gd name="T6" fmla="*/ 11696 w 11696"/>
                <a:gd name="T7" fmla="*/ 439 h 2192"/>
                <a:gd name="T8" fmla="*/ 11241 w 11696"/>
                <a:gd name="T9" fmla="*/ 1096 h 2192"/>
                <a:gd name="T10" fmla="*/ 11210 w 11696"/>
                <a:gd name="T11" fmla="*/ 822 h 2192"/>
                <a:gd name="T12" fmla="*/ 0 w 11696"/>
                <a:gd name="T13" fmla="*/ 2192 h 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6" h="2192">
                  <a:moveTo>
                    <a:pt x="0" y="2192"/>
                  </a:moveTo>
                  <a:cubicBezTo>
                    <a:pt x="1300" y="1218"/>
                    <a:pt x="5016" y="579"/>
                    <a:pt x="11148" y="274"/>
                  </a:cubicBezTo>
                  <a:lnTo>
                    <a:pt x="11118" y="0"/>
                  </a:lnTo>
                  <a:lnTo>
                    <a:pt x="11696" y="439"/>
                  </a:lnTo>
                  <a:lnTo>
                    <a:pt x="11241" y="1096"/>
                  </a:lnTo>
                  <a:lnTo>
                    <a:pt x="11210" y="822"/>
                  </a:lnTo>
                  <a:cubicBezTo>
                    <a:pt x="5686" y="944"/>
                    <a:pt x="1950" y="1401"/>
                    <a:pt x="0" y="2192"/>
                  </a:cubicBezTo>
                  <a:close/>
                </a:path>
              </a:pathLst>
            </a:custGeom>
            <a:gradFill>
              <a:gsLst>
                <a:gs pos="85000">
                  <a:schemeClr val="bg1">
                    <a:lumMod val="65000"/>
                  </a:schemeClr>
                </a:gs>
                <a:gs pos="54000">
                  <a:schemeClr val="accent3"/>
                </a:gs>
                <a:gs pos="26000">
                  <a:srgbClr val="45AC34"/>
                </a:gs>
              </a:gsLst>
              <a:lin ang="13800000" scaled="0"/>
            </a:gradFill>
            <a:ln w="444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17478" name="Rectangle 102">
              <a:extLst>
                <a:ext uri="{FF2B5EF4-FFF2-40B4-BE49-F238E27FC236}">
                  <a16:creationId xmlns:a16="http://schemas.microsoft.com/office/drawing/2014/main" id="{172F606A-AA19-4EFB-A85D-3AED6E405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20162" y="3528177"/>
              <a:ext cx="4905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80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>
                  <a:solidFill>
                    <a:srgbClr val="FFFFFF"/>
                  </a:solidFill>
                  <a:latin typeface="+mn-lt"/>
                </a:rPr>
                <a:t>2022</a:t>
              </a:r>
              <a:endParaRPr lang="en-US" altLang="en-US">
                <a:latin typeface="+mn-lt"/>
              </a:endParaRPr>
            </a:p>
          </p:txBody>
        </p:sp>
        <p:pic>
          <p:nvPicPr>
            <p:cNvPr id="17518" name="Picture 110">
              <a:extLst>
                <a:ext uri="{FF2B5EF4-FFF2-40B4-BE49-F238E27FC236}">
                  <a16:creationId xmlns:a16="http://schemas.microsoft.com/office/drawing/2014/main" id="{4F508B5E-5038-4B25-9815-2B802AE428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9667" y="4652359"/>
              <a:ext cx="1738290" cy="585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85" name="Rectangle 111">
              <a:extLst>
                <a:ext uri="{FF2B5EF4-FFF2-40B4-BE49-F238E27FC236}">
                  <a16:creationId xmlns:a16="http://schemas.microsoft.com/office/drawing/2014/main" id="{C87451D6-A758-40E8-AA12-032D64DE2F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916" y="5148281"/>
              <a:ext cx="4905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80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>
                  <a:solidFill>
                    <a:schemeClr val="accent4"/>
                  </a:solidFill>
                  <a:latin typeface="+mn-lt"/>
                </a:rPr>
                <a:t>1902</a:t>
              </a:r>
              <a:endParaRPr lang="en-US" altLang="en-US">
                <a:solidFill>
                  <a:schemeClr val="accent4"/>
                </a:solidFill>
                <a:latin typeface="+mn-lt"/>
              </a:endParaRPr>
            </a:p>
          </p:txBody>
        </p:sp>
        <p:sp>
          <p:nvSpPr>
            <p:cNvPr id="17486" name="Oval 17485">
              <a:extLst>
                <a:ext uri="{FF2B5EF4-FFF2-40B4-BE49-F238E27FC236}">
                  <a16:creationId xmlns:a16="http://schemas.microsoft.com/office/drawing/2014/main" id="{2C82F404-54F6-4EEF-B68D-77E24F478D36}"/>
                </a:ext>
              </a:extLst>
            </p:cNvPr>
            <p:cNvSpPr/>
            <p:nvPr/>
          </p:nvSpPr>
          <p:spPr bwMode="auto">
            <a:xfrm>
              <a:off x="1847764" y="4588916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1218072" fontAlgn="base">
                <a:spcBef>
                  <a:spcPct val="0"/>
                </a:spcBef>
                <a:spcAft>
                  <a:spcPct val="0"/>
                </a:spcAft>
              </a:pPr>
              <a:endParaRPr lang="en-US" sz="2398"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1" name="Afbeelding 16">
              <a:extLst>
                <a:ext uri="{FF2B5EF4-FFF2-40B4-BE49-F238E27FC236}">
                  <a16:creationId xmlns:a16="http://schemas.microsoft.com/office/drawing/2014/main" id="{E1E13332-AB70-4038-B63B-CA8A7DEEE2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35062" y="4583096"/>
              <a:ext cx="680534" cy="658739"/>
            </a:xfrm>
            <a:prstGeom prst="rect">
              <a:avLst/>
            </a:prstGeom>
          </p:spPr>
        </p:pic>
      </p:grpSp>
      <p:sp>
        <p:nvSpPr>
          <p:cNvPr id="28" name="TextBox 40">
            <a:extLst>
              <a:ext uri="{FF2B5EF4-FFF2-40B4-BE49-F238E27FC236}">
                <a16:creationId xmlns:a16="http://schemas.microsoft.com/office/drawing/2014/main" id="{D723DF1C-CCC0-4634-B080-4C5E8DB25B70}"/>
              </a:ext>
            </a:extLst>
          </p:cNvPr>
          <p:cNvSpPr txBox="1"/>
          <p:nvPr/>
        </p:nvSpPr>
        <p:spPr>
          <a:xfrm>
            <a:off x="9639336" y="1349292"/>
            <a:ext cx="18437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rgbClr val="00B050"/>
                </a:solidFill>
                <a:cs typeface="Arial" charset="0"/>
              </a:rPr>
              <a:t>Health, Nutrition, </a:t>
            </a:r>
          </a:p>
          <a:p>
            <a:r>
              <a:rPr lang="en-US" sz="1600" b="1">
                <a:solidFill>
                  <a:srgbClr val="00B050"/>
                </a:solidFill>
                <a:cs typeface="Arial" charset="0"/>
              </a:rPr>
              <a:t>&amp; Bioscience</a:t>
            </a:r>
          </a:p>
        </p:txBody>
      </p:sp>
    </p:spTree>
    <p:extLst>
      <p:ext uri="{BB962C8B-B14F-4D97-AF65-F5344CB8AC3E}">
        <p14:creationId xmlns:p14="http://schemas.microsoft.com/office/powerpoint/2010/main" val="35914339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4014788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5614" t="4305" r="36813" b="4305"/>
          <a:stretch/>
        </p:blipFill>
        <p:spPr>
          <a:xfrm>
            <a:off x="4014788" y="0"/>
            <a:ext cx="4014789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239" t="11930" r="43444" b="8007"/>
          <a:stretch/>
        </p:blipFill>
        <p:spPr>
          <a:xfrm>
            <a:off x="8029576" y="0"/>
            <a:ext cx="4166486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F145678-9289-C541-A573-79D22E14983D}"/>
              </a:ext>
            </a:extLst>
          </p:cNvPr>
          <p:cNvSpPr txBox="1">
            <a:spLocks/>
          </p:cNvSpPr>
          <p:nvPr/>
        </p:nvSpPr>
        <p:spPr bwMode="white">
          <a:xfrm>
            <a:off x="382957" y="4499811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For healthy developmen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CC9BE0D-D7CC-8940-AAE7-55190A4B0F1E}"/>
              </a:ext>
            </a:extLst>
          </p:cNvPr>
          <p:cNvSpPr txBox="1">
            <a:spLocks/>
          </p:cNvSpPr>
          <p:nvPr/>
        </p:nvSpPr>
        <p:spPr bwMode="white">
          <a:xfrm>
            <a:off x="4397745" y="4499810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For advanced solution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B3F8331-5E50-5146-BB0B-3735DFAD3504}"/>
              </a:ext>
            </a:extLst>
          </p:cNvPr>
          <p:cNvSpPr txBox="1">
            <a:spLocks/>
          </p:cNvSpPr>
          <p:nvPr/>
        </p:nvSpPr>
        <p:spPr bwMode="white">
          <a:xfrm>
            <a:off x="8412534" y="4499809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For targeted insights</a:t>
            </a:r>
          </a:p>
        </p:txBody>
      </p:sp>
    </p:spTree>
    <p:extLst>
      <p:ext uri="{BB962C8B-B14F-4D97-AF65-F5344CB8AC3E}">
        <p14:creationId xmlns:p14="http://schemas.microsoft.com/office/powerpoint/2010/main" val="9420361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99A7881A-C0B4-9643-8AF9-5379619E50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5614" t="22093" r="24784"/>
          <a:stretch/>
        </p:blipFill>
        <p:spPr>
          <a:xfrm>
            <a:off x="-1" y="0"/>
            <a:ext cx="5443869" cy="712381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EE5C35-DF9A-C842-A8C9-0BE9A0162616}"/>
              </a:ext>
            </a:extLst>
          </p:cNvPr>
          <p:cNvSpPr txBox="1"/>
          <p:nvPr/>
        </p:nvSpPr>
        <p:spPr>
          <a:xfrm>
            <a:off x="626825" y="2100959"/>
            <a:ext cx="3771003" cy="2288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ssential nutrition is fundamental to the production of healthy, sustainable animal protein. 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Our Essential Products provide vital nutrients for the healthy growth and development of farm animals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— delivered to the customer in the most flexible, tailored way.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723448DC-52E5-BE45-ABA9-E4B29FBD7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136680"/>
            <a:ext cx="5093438" cy="1214115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Vitamins for animal performance</a:t>
            </a:r>
            <a:b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Vitamins contribute to both well-being and performance. With more than 70 years’ experience, we offer the world’s largest portfolio of trusted animal nutrition products. </a:t>
            </a:r>
            <a:br>
              <a:rPr lang="en-US" sz="1400" dirty="0"/>
            </a:b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618A16A9-7FBB-B94C-8A57-8E140333AE48}"/>
              </a:ext>
            </a:extLst>
          </p:cNvPr>
          <p:cNvSpPr txBox="1">
            <a:spLocks/>
          </p:cNvSpPr>
          <p:nvPr/>
        </p:nvSpPr>
        <p:spPr>
          <a:xfrm>
            <a:off x="6096000" y="2807395"/>
            <a:ext cx="5093438" cy="14596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Premixes customized for your needs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Our premixes are customized blends of functional ingredients – vitamins, minerals, amino acids, nucleotides, nutraceuticals, prebiotics, fibers, herbs and more – delivered to you in a single, homogenous compound. 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2CD0FEDD-7D43-B341-9E25-7FFC3ABC7F49}"/>
              </a:ext>
            </a:extLst>
          </p:cNvPr>
          <p:cNvSpPr txBox="1">
            <a:spLocks/>
          </p:cNvSpPr>
          <p:nvPr/>
        </p:nvSpPr>
        <p:spPr>
          <a:xfrm>
            <a:off x="6096000" y="4478110"/>
            <a:ext cx="5093438" cy="12141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Carotenoids for product quality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Carotenoids play a key role in animal health and reproduction, while helping ensure product quality, meet consumer expectations, and prevent food waste. 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5AC8980-F65E-FF4F-A4DA-6FFBFD4748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8406" y="780117"/>
            <a:ext cx="2013528" cy="71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1825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18D463-02C2-4787-BF4E-C48F22919C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18D463-02C2-4787-BF4E-C48F22919C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99A7881A-C0B4-9643-8AF9-5379619E50E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1896" t="2835" r="30116" b="-3731"/>
          <a:stretch/>
        </p:blipFill>
        <p:spPr>
          <a:xfrm>
            <a:off x="0" y="0"/>
            <a:ext cx="5443869" cy="718760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EC3422-F790-3744-994E-AD699E6D29F2}"/>
              </a:ext>
            </a:extLst>
          </p:cNvPr>
          <p:cNvSpPr txBox="1"/>
          <p:nvPr/>
        </p:nvSpPr>
        <p:spPr>
          <a:xfrm>
            <a:off x="592986" y="2391369"/>
            <a:ext cx="3505144" cy="3832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Our Performance Solutions + BIOMIN</a:t>
            </a:r>
            <a:r>
              <a:rPr kumimoji="0" lang="en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®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re designed to improve the sustainability and profitability of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nimal farming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Our broad portfolio delivers the level of functional nutrition needed for the industry to meet the challenges of sustainability, animal welfare and feed quality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We are proud to welcome BIOMIN</a:t>
            </a:r>
            <a:r>
              <a:rPr kumimoji="0" lang="en-NL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®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—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 global leader in nutritional science and mycotoxin deactivation — to the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DSM family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39E3E9A0-92A0-734F-BC5A-2C47CB96D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584230"/>
            <a:ext cx="5093438" cy="968535"/>
          </a:xfrm>
        </p:spPr>
        <p:txBody>
          <a:bodyPr vert="horz"/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Enzymes unlock nutrient potential</a:t>
            </a:r>
            <a:b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Our feed enzyme portfolio enhances the wellbeing and performance of livestock by unlocking nutrient potential </a:t>
            </a:r>
            <a:br>
              <a:rPr lang="en-US" sz="1400" dirty="0">
                <a:solidFill>
                  <a:schemeClr val="tx1"/>
                </a:solidFill>
                <a:latin typeface="+mn-lt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in feed and lower feed costs.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CE38EA97-7CC5-5849-B563-51DB0D2B7F1D}"/>
              </a:ext>
            </a:extLst>
          </p:cNvPr>
          <p:cNvSpPr txBox="1">
            <a:spLocks/>
          </p:cNvSpPr>
          <p:nvPr/>
        </p:nvSpPr>
        <p:spPr>
          <a:xfrm>
            <a:off x="6096000" y="1979755"/>
            <a:ext cx="5093438" cy="14596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Mycotoxin deactivation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We harness the power of science to support all aspects of animal health and performance. With our BIOMIN portfolio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we are world leaders in advanced mycotoxin risk management techniques, including mycotoxin detection and mycotoxin deactivation.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3C3975B-FC69-AA4B-8B38-C668F77079EA}"/>
              </a:ext>
            </a:extLst>
          </p:cNvPr>
          <p:cNvSpPr txBox="1">
            <a:spLocks/>
          </p:cNvSpPr>
          <p:nvPr/>
        </p:nvSpPr>
        <p:spPr>
          <a:xfrm>
            <a:off x="6096000" y="3763735"/>
            <a:ext cx="5093438" cy="12141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Eubiotic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 in balanc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Our range of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eubiotic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delivers an optimal balance of microflora to promote efficient gut performance, ensuring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hat animals get the most from their feed. 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0F82817-27FA-EC48-A3BA-B5994090407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3000" y="767054"/>
            <a:ext cx="2810549" cy="1132609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59430AC3-88ED-4EBA-A8F6-141000DFF4EE}"/>
              </a:ext>
            </a:extLst>
          </p:cNvPr>
          <p:cNvSpPr txBox="1">
            <a:spLocks/>
          </p:cNvSpPr>
          <p:nvPr/>
        </p:nvSpPr>
        <p:spPr>
          <a:xfrm>
            <a:off x="6096000" y="5113075"/>
            <a:ext cx="5093438" cy="96853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Special nutrients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Our unique Hy-D to achieve optimal Vitamin 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D status for improved immunity, skeletal health and animal performan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918441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99A7881A-C0B4-9643-8AF9-5379619E50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8440" t="8677" r="37554" b="1870"/>
          <a:stretch/>
        </p:blipFill>
        <p:spPr>
          <a:xfrm>
            <a:off x="0" y="-9526"/>
            <a:ext cx="5443869" cy="712381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8605D3-FBB7-FE45-AB86-5D6D6B3F2CF5}"/>
              </a:ext>
            </a:extLst>
          </p:cNvPr>
          <p:cNvSpPr txBox="1"/>
          <p:nvPr/>
        </p:nvSpPr>
        <p:spPr>
          <a:xfrm>
            <a:off x="592986" y="2148626"/>
            <a:ext cx="3619418" cy="253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Greater precision in animal farming is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key to a more sustainable and profitable future. 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Our Precision Services use the latest data analytics and diagnostics to improve animal health, lifetime performance, resource use and environmental footprint — while mitigating risks and unlocking more value. 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0E5F1BFF-A51B-F047-83E5-187615077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136680"/>
            <a:ext cx="5093438" cy="1459695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Improve animal sustainability</a:t>
            </a:r>
            <a:b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Our global sustainability service,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Sustell</a:t>
            </a:r>
            <a:r>
              <a:rPr lang="en-US" sz="1400" baseline="30000" dirty="0">
                <a:solidFill>
                  <a:schemeClr val="tx1"/>
                </a:solidFill>
                <a:latin typeface="+mn-lt"/>
              </a:rPr>
              <a:t>™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, allows farmers to measure their actual environmental footprint and identify the best possibilities to improve, and providing advice and practical solutions for implementation. </a:t>
            </a:r>
            <a:br>
              <a:rPr lang="en-US" sz="1400" dirty="0"/>
            </a:b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FC8CBAF-844D-3C46-9CF3-C0784A847793}"/>
              </a:ext>
            </a:extLst>
          </p:cNvPr>
          <p:cNvSpPr txBox="1">
            <a:spLocks/>
          </p:cNvSpPr>
          <p:nvPr/>
        </p:nvSpPr>
        <p:spPr>
          <a:xfrm>
            <a:off x="6096000" y="2807395"/>
            <a:ext cx="5093438" cy="14596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Improve animal health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Our animal health management service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Verax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™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uses the power of diagnostics to enable farmers to adjust feeding regimes and optimize their animals’ health, productivity, and welfare by providing evidence-based recommendations for better nutrition and performance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7B47216-22E8-A54F-8976-42673F2897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8406" y="809212"/>
            <a:ext cx="2013528" cy="71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5473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945731-622A-4C16-830C-FA59B5C4E8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945731-622A-4C16-830C-FA59B5C4E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F000265-EF84-134E-BD2F-9691542AC7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886397"/>
          </a:xfrm>
        </p:spPr>
        <p:txBody>
          <a:bodyPr vert="horz"/>
          <a:lstStyle/>
          <a:p>
            <a:r>
              <a:rPr lang="en-US" dirty="0"/>
              <a:t>Performance Solutions toolkit for addressing challenges across all major spec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2DC6EE-D209-894A-B12E-6D1D7E71B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4A4C287-8966-4E1A-A3DA-F7CFE598FED5}"/>
              </a:ext>
            </a:extLst>
          </p:cNvPr>
          <p:cNvSpPr/>
          <p:nvPr/>
        </p:nvSpPr>
        <p:spPr>
          <a:xfrm>
            <a:off x="1248915" y="1642653"/>
            <a:ext cx="2288390" cy="735422"/>
          </a:xfrm>
          <a:prstGeom prst="roundRect">
            <a:avLst>
              <a:gd name="adj" fmla="val 0"/>
            </a:avLst>
          </a:prstGeom>
          <a:solidFill>
            <a:srgbClr val="45AC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ts val="75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Trebuchet MS"/>
                <a:cs typeface="Arial"/>
              </a:rPr>
              <a:t>Feed Optimizatio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1DC9EF1-D747-48D3-BF23-0FFBC6059F5A}"/>
              </a:ext>
            </a:extLst>
          </p:cNvPr>
          <p:cNvSpPr/>
          <p:nvPr/>
        </p:nvSpPr>
        <p:spPr>
          <a:xfrm>
            <a:off x="3712537" y="1642653"/>
            <a:ext cx="2288390" cy="735422"/>
          </a:xfrm>
          <a:prstGeom prst="roundRect">
            <a:avLst>
              <a:gd name="adj" fmla="val 0"/>
            </a:avLst>
          </a:prstGeom>
          <a:solidFill>
            <a:srgbClr val="45AC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cs typeface="Arial"/>
              </a:rPr>
              <a:t>Gut Health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226B733-B397-40BC-A8BF-7BCFAB1A0ACA}"/>
              </a:ext>
            </a:extLst>
          </p:cNvPr>
          <p:cNvSpPr/>
          <p:nvPr/>
        </p:nvSpPr>
        <p:spPr>
          <a:xfrm>
            <a:off x="6176160" y="1642653"/>
            <a:ext cx="2288390" cy="735422"/>
          </a:xfrm>
          <a:prstGeom prst="roundRect">
            <a:avLst>
              <a:gd name="adj" fmla="val 0"/>
            </a:avLst>
          </a:prstGeom>
          <a:solidFill>
            <a:srgbClr val="45AC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FFFFFF"/>
                </a:solidFill>
                <a:latin typeface="Trebuchet MS"/>
                <a:cs typeface="Arial"/>
              </a:rPr>
              <a:t>Mycotoxin Risk Management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D3AF266-BDA3-4A6E-8F68-4F5EA7AA61A2}"/>
              </a:ext>
            </a:extLst>
          </p:cNvPr>
          <p:cNvSpPr/>
          <p:nvPr/>
        </p:nvSpPr>
        <p:spPr>
          <a:xfrm>
            <a:off x="8639783" y="1642653"/>
            <a:ext cx="2288390" cy="735422"/>
          </a:xfrm>
          <a:prstGeom prst="roundRect">
            <a:avLst>
              <a:gd name="adj" fmla="val 0"/>
            </a:avLst>
          </a:prstGeom>
          <a:solidFill>
            <a:srgbClr val="45AC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FFFFFF"/>
                </a:solidFill>
                <a:latin typeface="Trebuchet MS"/>
                <a:cs typeface="Arial"/>
              </a:rPr>
              <a:t>Special Nutrients</a:t>
            </a:r>
          </a:p>
        </p:txBody>
      </p:sp>
      <p:sp>
        <p:nvSpPr>
          <p:cNvPr id="46" name="Rectangle 33">
            <a:extLst>
              <a:ext uri="{FF2B5EF4-FFF2-40B4-BE49-F238E27FC236}">
                <a16:creationId xmlns:a16="http://schemas.microsoft.com/office/drawing/2014/main" id="{65368A60-D531-4C36-AA5F-B54642178F98}"/>
              </a:ext>
            </a:extLst>
          </p:cNvPr>
          <p:cNvSpPr/>
          <p:nvPr/>
        </p:nvSpPr>
        <p:spPr bwMode="auto">
          <a:xfrm>
            <a:off x="1248915" y="2445058"/>
            <a:ext cx="2288390" cy="3559313"/>
          </a:xfrm>
          <a:prstGeom prst="rect">
            <a:avLst/>
          </a:prstGeom>
          <a:solidFill>
            <a:srgbClr val="D7F2D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80000" tIns="216000" rIns="180000" bIns="108000" rtlCol="0" anchor="t"/>
          <a:lstStyle/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r>
              <a:rPr lang="en-US" sz="1400" dirty="0">
                <a:cs typeface="Arial" panose="020B0604020202020204" pitchFamily="34" charset="0"/>
              </a:rPr>
              <a:t>Broadest portfolio of enzymes and services to enable precision nutrition for feed efficiency and reduced environmental impac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RONOZYME®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HiPhos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RONOZYME® Multigrain, WX, VP,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HiStarch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Rumistar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indent="-180975" defTabSz="1218072" fontAlgn="base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RONOZYME®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ProAct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371475" indent="-285750" defTabSz="1218072" fontAlgn="base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47" name="Rectangle 33">
            <a:extLst>
              <a:ext uri="{FF2B5EF4-FFF2-40B4-BE49-F238E27FC236}">
                <a16:creationId xmlns:a16="http://schemas.microsoft.com/office/drawing/2014/main" id="{205F9CEB-A0E0-49E8-900F-B90BBFFB07C5}"/>
              </a:ext>
            </a:extLst>
          </p:cNvPr>
          <p:cNvSpPr/>
          <p:nvPr/>
        </p:nvSpPr>
        <p:spPr bwMode="auto">
          <a:xfrm>
            <a:off x="3695985" y="2445058"/>
            <a:ext cx="2288390" cy="3559313"/>
          </a:xfrm>
          <a:prstGeom prst="rect">
            <a:avLst/>
          </a:prstGeom>
          <a:solidFill>
            <a:srgbClr val="D7F2D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80000" tIns="216000" rIns="180000" bIns="108000" rtlCol="0" anchor="t"/>
          <a:lstStyle/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r>
              <a:rPr lang="en-US" sz="1400" dirty="0">
                <a:cs typeface="Arial" panose="020B0604020202020204" pitchFamily="34" charset="0"/>
              </a:rPr>
              <a:t>Comprehensive range of </a:t>
            </a:r>
            <a:r>
              <a:rPr lang="en-US" sz="1400" dirty="0" err="1">
                <a:cs typeface="Arial" panose="020B0604020202020204" pitchFamily="34" charset="0"/>
              </a:rPr>
              <a:t>eubiotics</a:t>
            </a:r>
            <a:r>
              <a:rPr lang="en-US" sz="1400" dirty="0">
                <a:cs typeface="Arial" panose="020B0604020202020204" pitchFamily="34" charset="0"/>
              </a:rPr>
              <a:t> to ensure gut health, functionality and performan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Organic acids</a:t>
            </a: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Probiotics</a:t>
            </a: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Prebiotics</a:t>
            </a: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Phytogenics or essential oils</a:t>
            </a: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Gut health enzymes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48" name="Rectangle 33">
            <a:extLst>
              <a:ext uri="{FF2B5EF4-FFF2-40B4-BE49-F238E27FC236}">
                <a16:creationId xmlns:a16="http://schemas.microsoft.com/office/drawing/2014/main" id="{A748C59E-6739-4F75-B078-DBC0CC149626}"/>
              </a:ext>
            </a:extLst>
          </p:cNvPr>
          <p:cNvSpPr/>
          <p:nvPr/>
        </p:nvSpPr>
        <p:spPr bwMode="auto">
          <a:xfrm>
            <a:off x="6180165" y="2445058"/>
            <a:ext cx="2288390" cy="3559313"/>
          </a:xfrm>
          <a:prstGeom prst="rect">
            <a:avLst/>
          </a:prstGeom>
          <a:solidFill>
            <a:srgbClr val="D7F2D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80000" tIns="216000" rIns="180000" bIns="108000" rtlCol="0" anchor="t"/>
          <a:lstStyle/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r>
              <a:rPr lang="en-US" sz="1400" dirty="0">
                <a:cs typeface="Arial" panose="020B0604020202020204" pitchFamily="34" charset="0"/>
              </a:rPr>
              <a:t>Advanced mycotoxin risk management, including mycotoxin detection services and mycotoxin deactivation solutions</a:t>
            </a: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Arial" panose="020B0604020202020204" pitchFamily="34" charset="0"/>
              </a:rPr>
              <a:t>Mycofix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®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Arial" panose="020B0604020202020204" pitchFamily="34" charset="0"/>
              </a:rPr>
              <a:t> Plus</a:t>
            </a: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Mycofix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® Selec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Arial" panose="020B0604020202020204" pitchFamily="34" charset="0"/>
            </a:endParaRPr>
          </a:p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49" name="Rectangle 33">
            <a:extLst>
              <a:ext uri="{FF2B5EF4-FFF2-40B4-BE49-F238E27FC236}">
                <a16:creationId xmlns:a16="http://schemas.microsoft.com/office/drawing/2014/main" id="{7662A06D-FB83-49B7-8EBB-9FAFCD6D78F2}"/>
              </a:ext>
            </a:extLst>
          </p:cNvPr>
          <p:cNvSpPr/>
          <p:nvPr/>
        </p:nvSpPr>
        <p:spPr bwMode="auto">
          <a:xfrm>
            <a:off x="8630496" y="2445058"/>
            <a:ext cx="2288390" cy="3559313"/>
          </a:xfrm>
          <a:prstGeom prst="rect">
            <a:avLst/>
          </a:prstGeom>
          <a:solidFill>
            <a:srgbClr val="D7F2D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80000" tIns="216000" rIns="180000" bIns="108000" rtlCol="0" anchor="t"/>
          <a:lstStyle/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r>
              <a:rPr lang="en-US" sz="1400" dirty="0">
                <a:cs typeface="Arial" panose="020B0604020202020204" pitchFamily="34" charset="0"/>
              </a:rPr>
              <a:t>Unique solution to achieve optimal Vitamin D status for improved immunity, skeletal health and animal performance</a:t>
            </a:r>
          </a:p>
          <a:p>
            <a:pPr marL="180975" indent="-180975" defTabSz="1218072" fontAlgn="base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cs typeface="Arial" panose="020B0604020202020204" pitchFamily="34" charset="0"/>
              </a:rPr>
              <a:t>HyD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®</a:t>
            </a:r>
            <a:endParaRPr lang="en-US" sz="1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3079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81F08878-70B6-4356-B4E4-1FC543E6791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r="24107" b="35311"/>
          <a:stretch/>
        </p:blipFill>
        <p:spPr>
          <a:xfrm>
            <a:off x="0" y="0"/>
            <a:ext cx="12195107" cy="68580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5EB667-9736-4F9D-B7C4-E6AB922E7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5</a:t>
            </a:fld>
            <a:endParaRPr 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BED37F-85C8-4909-ACD8-285F3F5C44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944A977-6FAE-4C5F-9392-9583E9FDB58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/>
              <a:t>Purpose-driven </a:t>
            </a:r>
            <a:br>
              <a:rPr lang="en-US" sz="4400"/>
            </a:br>
            <a:r>
              <a:rPr lang="en-US" sz="4400"/>
              <a:t>partnership </a:t>
            </a:r>
            <a:br>
              <a:rPr lang="en-US" sz="4400"/>
            </a:br>
            <a:r>
              <a:rPr lang="en-US" sz="4400"/>
              <a:t>with Team DSM</a:t>
            </a:r>
          </a:p>
        </p:txBody>
      </p:sp>
    </p:spTree>
    <p:extLst>
      <p:ext uri="{BB962C8B-B14F-4D97-AF65-F5344CB8AC3E}">
        <p14:creationId xmlns:p14="http://schemas.microsoft.com/office/powerpoint/2010/main" val="30709915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262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120">
            <a:extLst>
              <a:ext uri="{FF2B5EF4-FFF2-40B4-BE49-F238E27FC236}">
                <a16:creationId xmlns:a16="http://schemas.microsoft.com/office/drawing/2014/main" id="{E218771C-DC91-40D8-938A-559FDD5C9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1289103"/>
            <a:ext cx="4900613" cy="2580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600B2B-8B13-4510-83B0-45F926075E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8" imgW="429" imgH="429" progId="TCLayout.ActiveDocument.1">
                  <p:embed/>
                </p:oleObj>
              </mc:Choice>
              <mc:Fallback>
                <p:oleObj name="think-cell Slide" r:id="rId8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600B2B-8B13-4510-83B0-45F926075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A46AC07-A857-4935-9266-F5F6C2B372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6B4C8D-35A4-4E86-81C5-6D7BE5068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’s global leader in Health, Nutrition &amp; Bioscience</a:t>
            </a:r>
            <a:endParaRPr lang="en-US" noProof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FA8F7087-2076-4DF0-9061-0EAF4081F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D01D5-DB99-4F33-A411-212F358EFA84}"/>
              </a:ext>
            </a:extLst>
          </p:cNvPr>
          <p:cNvSpPr txBox="1"/>
          <p:nvPr/>
        </p:nvSpPr>
        <p:spPr>
          <a:xfrm>
            <a:off x="820810" y="6301968"/>
            <a:ext cx="32447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/>
              <a:t>* Based on continuing operations, full year 2021</a:t>
            </a:r>
          </a:p>
        </p:txBody>
      </p:sp>
      <p:sp>
        <p:nvSpPr>
          <p:cNvPr id="24" name="Tekstvak 24">
            <a:extLst>
              <a:ext uri="{FF2B5EF4-FFF2-40B4-BE49-F238E27FC236}">
                <a16:creationId xmlns:a16="http://schemas.microsoft.com/office/drawing/2014/main" id="{2B8CFB43-3BCC-475B-9E11-5272888609EB}"/>
              </a:ext>
            </a:extLst>
          </p:cNvPr>
          <p:cNvSpPr txBox="1"/>
          <p:nvPr/>
        </p:nvSpPr>
        <p:spPr>
          <a:xfrm>
            <a:off x="9515401" y="4981242"/>
            <a:ext cx="148778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Rest of Europe (28%)</a:t>
            </a:r>
          </a:p>
        </p:txBody>
      </p:sp>
      <p:sp>
        <p:nvSpPr>
          <p:cNvPr id="25" name="Tekstvak 25">
            <a:extLst>
              <a:ext uri="{FF2B5EF4-FFF2-40B4-BE49-F238E27FC236}">
                <a16:creationId xmlns:a16="http://schemas.microsoft.com/office/drawing/2014/main" id="{B8B13927-BF26-4438-B09F-724AA0869779}"/>
              </a:ext>
            </a:extLst>
          </p:cNvPr>
          <p:cNvSpPr txBox="1"/>
          <p:nvPr/>
        </p:nvSpPr>
        <p:spPr>
          <a:xfrm>
            <a:off x="8788139" y="6116757"/>
            <a:ext cx="22150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North America (21%)</a:t>
            </a:r>
          </a:p>
        </p:txBody>
      </p:sp>
      <p:sp>
        <p:nvSpPr>
          <p:cNvPr id="26" name="Tekstvak 26">
            <a:extLst>
              <a:ext uri="{FF2B5EF4-FFF2-40B4-BE49-F238E27FC236}">
                <a16:creationId xmlns:a16="http://schemas.microsoft.com/office/drawing/2014/main" id="{2E794323-F0FF-4CC4-8690-D5496D8A9153}"/>
              </a:ext>
            </a:extLst>
          </p:cNvPr>
          <p:cNvSpPr txBox="1"/>
          <p:nvPr/>
        </p:nvSpPr>
        <p:spPr>
          <a:xfrm>
            <a:off x="6443603" y="5832949"/>
            <a:ext cx="14263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/>
              <a:t>Latin America (13%)</a:t>
            </a:r>
          </a:p>
        </p:txBody>
      </p:sp>
      <p:sp>
        <p:nvSpPr>
          <p:cNvPr id="27" name="Tekstvak 27">
            <a:extLst>
              <a:ext uri="{FF2B5EF4-FFF2-40B4-BE49-F238E27FC236}">
                <a16:creationId xmlns:a16="http://schemas.microsoft.com/office/drawing/2014/main" id="{4636D9A3-74EC-47E7-94A7-A85697F954D2}"/>
              </a:ext>
            </a:extLst>
          </p:cNvPr>
          <p:cNvSpPr txBox="1"/>
          <p:nvPr/>
        </p:nvSpPr>
        <p:spPr>
          <a:xfrm>
            <a:off x="6443602" y="5073575"/>
            <a:ext cx="11269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/>
              <a:t>China (13%)</a:t>
            </a:r>
          </a:p>
        </p:txBody>
      </p:sp>
      <p:sp>
        <p:nvSpPr>
          <p:cNvPr id="28" name="Tekstvak 28">
            <a:extLst>
              <a:ext uri="{FF2B5EF4-FFF2-40B4-BE49-F238E27FC236}">
                <a16:creationId xmlns:a16="http://schemas.microsoft.com/office/drawing/2014/main" id="{31AAF296-05B0-4701-AE5A-F92480C24E40}"/>
              </a:ext>
            </a:extLst>
          </p:cNvPr>
          <p:cNvSpPr txBox="1"/>
          <p:nvPr/>
        </p:nvSpPr>
        <p:spPr>
          <a:xfrm>
            <a:off x="6685184" y="4348863"/>
            <a:ext cx="12403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/>
              <a:t>Rest of Asia (16%)</a:t>
            </a:r>
          </a:p>
        </p:txBody>
      </p:sp>
      <p:sp>
        <p:nvSpPr>
          <p:cNvPr id="39" name="Tekstvak 31">
            <a:extLst>
              <a:ext uri="{FF2B5EF4-FFF2-40B4-BE49-F238E27FC236}">
                <a16:creationId xmlns:a16="http://schemas.microsoft.com/office/drawing/2014/main" id="{D6CCE0A2-9671-4C2A-9FEF-6701B0ECC7D6}"/>
              </a:ext>
            </a:extLst>
          </p:cNvPr>
          <p:cNvSpPr txBox="1"/>
          <p:nvPr/>
        </p:nvSpPr>
        <p:spPr>
          <a:xfrm>
            <a:off x="6926484" y="4036558"/>
            <a:ext cx="16872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/>
              <a:t>Rest of the world (3%)</a:t>
            </a:r>
          </a:p>
        </p:txBody>
      </p:sp>
      <p:graphicFrame>
        <p:nvGraphicFramePr>
          <p:cNvPr id="43" name="Object 41">
            <a:extLst>
              <a:ext uri="{FF2B5EF4-FFF2-40B4-BE49-F238E27FC236}">
                <a16:creationId xmlns:a16="http://schemas.microsoft.com/office/drawing/2014/main" id="{A6B868B1-3423-4242-8C20-E47B86AE89B9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70181218"/>
              </p:ext>
            </p:extLst>
          </p:nvPr>
        </p:nvGraphicFramePr>
        <p:xfrm>
          <a:off x="7640729" y="4253559"/>
          <a:ext cx="1851156" cy="1851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1" name="Tekstvak 3">
            <a:extLst>
              <a:ext uri="{FF2B5EF4-FFF2-40B4-BE49-F238E27FC236}">
                <a16:creationId xmlns:a16="http://schemas.microsoft.com/office/drawing/2014/main" id="{720DA9AE-54BB-4F66-A9D0-100730D5B92F}"/>
              </a:ext>
            </a:extLst>
          </p:cNvPr>
          <p:cNvSpPr txBox="1"/>
          <p:nvPr/>
        </p:nvSpPr>
        <p:spPr>
          <a:xfrm>
            <a:off x="8719080" y="4115871"/>
            <a:ext cx="21836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The Netherlands (4%)</a:t>
            </a:r>
          </a:p>
        </p:txBody>
      </p:sp>
      <p:sp>
        <p:nvSpPr>
          <p:cNvPr id="42" name="Tekstvak 3">
            <a:extLst>
              <a:ext uri="{FF2B5EF4-FFF2-40B4-BE49-F238E27FC236}">
                <a16:creationId xmlns:a16="http://schemas.microsoft.com/office/drawing/2014/main" id="{6A3846F3-1DB3-4010-93A6-18F679654FDA}"/>
              </a:ext>
            </a:extLst>
          </p:cNvPr>
          <p:cNvSpPr txBox="1"/>
          <p:nvPr/>
        </p:nvSpPr>
        <p:spPr>
          <a:xfrm>
            <a:off x="9182573" y="4321152"/>
            <a:ext cx="18206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Switzerland (2%)</a:t>
            </a: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A0ADADC8-ACD2-4363-A206-08722B0DFE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7180358"/>
              </p:ext>
            </p:extLst>
          </p:nvPr>
        </p:nvGraphicFramePr>
        <p:xfrm>
          <a:off x="774200" y="2144050"/>
          <a:ext cx="5500136" cy="3407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5" name="Tekstvak 3">
            <a:extLst>
              <a:ext uri="{FF2B5EF4-FFF2-40B4-BE49-F238E27FC236}">
                <a16:creationId xmlns:a16="http://schemas.microsoft.com/office/drawing/2014/main" id="{335381D6-48BA-49D2-920C-D09BC8CA92C1}"/>
              </a:ext>
            </a:extLst>
          </p:cNvPr>
          <p:cNvSpPr txBox="1"/>
          <p:nvPr/>
        </p:nvSpPr>
        <p:spPr>
          <a:xfrm>
            <a:off x="5081027" y="2987703"/>
            <a:ext cx="154656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Dietary </a:t>
            </a:r>
          </a:p>
          <a:p>
            <a:r>
              <a:rPr lang="en-US" sz="1200"/>
              <a:t>Supplements (12%)</a:t>
            </a:r>
          </a:p>
        </p:txBody>
      </p:sp>
      <p:sp>
        <p:nvSpPr>
          <p:cNvPr id="46" name="Tekstvak 24">
            <a:extLst>
              <a:ext uri="{FF2B5EF4-FFF2-40B4-BE49-F238E27FC236}">
                <a16:creationId xmlns:a16="http://schemas.microsoft.com/office/drawing/2014/main" id="{6233FC6F-A587-4351-ABEA-09166ECEEDDE}"/>
              </a:ext>
            </a:extLst>
          </p:cNvPr>
          <p:cNvSpPr txBox="1"/>
          <p:nvPr/>
        </p:nvSpPr>
        <p:spPr>
          <a:xfrm>
            <a:off x="4297548" y="2043663"/>
            <a:ext cx="25110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Food &amp; Beverage </a:t>
            </a:r>
          </a:p>
          <a:p>
            <a:r>
              <a:rPr lang="en-US" sz="1200"/>
              <a:t>Solutions (12%)</a:t>
            </a:r>
          </a:p>
        </p:txBody>
      </p:sp>
      <p:sp>
        <p:nvSpPr>
          <p:cNvPr id="47" name="Tekstvak 25">
            <a:extLst>
              <a:ext uri="{FF2B5EF4-FFF2-40B4-BE49-F238E27FC236}">
                <a16:creationId xmlns:a16="http://schemas.microsoft.com/office/drawing/2014/main" id="{E95FC0E8-4C01-42B1-A6A3-A92159E3C05D}"/>
              </a:ext>
            </a:extLst>
          </p:cNvPr>
          <p:cNvSpPr txBox="1"/>
          <p:nvPr/>
        </p:nvSpPr>
        <p:spPr>
          <a:xfrm>
            <a:off x="619056" y="3070080"/>
            <a:ext cx="126192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/>
              <a:t>Automotive/</a:t>
            </a:r>
          </a:p>
          <a:p>
            <a:pPr algn="r"/>
            <a:r>
              <a:rPr lang="en-US" sz="1200"/>
              <a:t>transport (7%)</a:t>
            </a:r>
          </a:p>
        </p:txBody>
      </p:sp>
      <p:sp>
        <p:nvSpPr>
          <p:cNvPr id="48" name="Tekstvak 27">
            <a:extLst>
              <a:ext uri="{FF2B5EF4-FFF2-40B4-BE49-F238E27FC236}">
                <a16:creationId xmlns:a16="http://schemas.microsoft.com/office/drawing/2014/main" id="{3DB60CE6-923E-4217-B200-222C8E2CE4C0}"/>
              </a:ext>
            </a:extLst>
          </p:cNvPr>
          <p:cNvSpPr txBox="1"/>
          <p:nvPr/>
        </p:nvSpPr>
        <p:spPr>
          <a:xfrm>
            <a:off x="583142" y="2586535"/>
            <a:ext cx="15465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/>
              <a:t>Electrical/</a:t>
            </a:r>
          </a:p>
          <a:p>
            <a:pPr algn="r"/>
            <a:r>
              <a:rPr lang="en-US" sz="1200"/>
              <a:t>electronics (5%)</a:t>
            </a:r>
          </a:p>
        </p:txBody>
      </p:sp>
      <p:sp>
        <p:nvSpPr>
          <p:cNvPr id="49" name="Tekstvak 29">
            <a:extLst>
              <a:ext uri="{FF2B5EF4-FFF2-40B4-BE49-F238E27FC236}">
                <a16:creationId xmlns:a16="http://schemas.microsoft.com/office/drawing/2014/main" id="{935831A2-06C2-48C2-9EE2-2B6041C733E7}"/>
              </a:ext>
            </a:extLst>
          </p:cNvPr>
          <p:cNvSpPr txBox="1"/>
          <p:nvPr/>
        </p:nvSpPr>
        <p:spPr>
          <a:xfrm>
            <a:off x="5152266" y="3871480"/>
            <a:ext cx="154656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Early Life </a:t>
            </a:r>
          </a:p>
          <a:p>
            <a:r>
              <a:rPr lang="en-US" sz="1200"/>
              <a:t>Nutrition (5%)</a:t>
            </a:r>
          </a:p>
        </p:txBody>
      </p:sp>
      <p:sp>
        <p:nvSpPr>
          <p:cNvPr id="50" name="Tekstvak 30">
            <a:extLst>
              <a:ext uri="{FF2B5EF4-FFF2-40B4-BE49-F238E27FC236}">
                <a16:creationId xmlns:a16="http://schemas.microsoft.com/office/drawing/2014/main" id="{EE1BD4CA-4360-4154-A7D8-C9C454502280}"/>
              </a:ext>
            </a:extLst>
          </p:cNvPr>
          <p:cNvSpPr txBox="1"/>
          <p:nvPr/>
        </p:nvSpPr>
        <p:spPr>
          <a:xfrm>
            <a:off x="5053318" y="4482882"/>
            <a:ext cx="164837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600"/>
            </a:lvl1pPr>
          </a:lstStyle>
          <a:p>
            <a:pPr algn="l"/>
            <a:r>
              <a:rPr lang="en-US" sz="1200"/>
              <a:t>Medical </a:t>
            </a:r>
          </a:p>
          <a:p>
            <a:pPr algn="l"/>
            <a:r>
              <a:rPr lang="en-US" sz="1200"/>
              <a:t>Pharma (6%)</a:t>
            </a:r>
          </a:p>
        </p:txBody>
      </p:sp>
      <p:sp>
        <p:nvSpPr>
          <p:cNvPr id="51" name="Tekstvak 31">
            <a:extLst>
              <a:ext uri="{FF2B5EF4-FFF2-40B4-BE49-F238E27FC236}">
                <a16:creationId xmlns:a16="http://schemas.microsoft.com/office/drawing/2014/main" id="{D4B26616-61C5-4EA0-926A-99B8F4BF2506}"/>
              </a:ext>
            </a:extLst>
          </p:cNvPr>
          <p:cNvSpPr txBox="1"/>
          <p:nvPr/>
        </p:nvSpPr>
        <p:spPr>
          <a:xfrm>
            <a:off x="820810" y="5098017"/>
            <a:ext cx="24058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Animal Nutrition (36%)</a:t>
            </a:r>
          </a:p>
        </p:txBody>
      </p:sp>
      <p:sp>
        <p:nvSpPr>
          <p:cNvPr id="52" name="Tekstvak 28">
            <a:extLst>
              <a:ext uri="{FF2B5EF4-FFF2-40B4-BE49-F238E27FC236}">
                <a16:creationId xmlns:a16="http://schemas.microsoft.com/office/drawing/2014/main" id="{700A5D9E-A78B-47DE-A67C-7DB2DC06AC8C}"/>
              </a:ext>
            </a:extLst>
          </p:cNvPr>
          <p:cNvSpPr txBox="1"/>
          <p:nvPr/>
        </p:nvSpPr>
        <p:spPr>
          <a:xfrm>
            <a:off x="4737945" y="5073575"/>
            <a:ext cx="154447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Personal </a:t>
            </a:r>
          </a:p>
          <a:p>
            <a:r>
              <a:rPr lang="en-US" sz="1200"/>
              <a:t>Care (5%)</a:t>
            </a:r>
          </a:p>
        </p:txBody>
      </p:sp>
      <p:sp>
        <p:nvSpPr>
          <p:cNvPr id="53" name="Tekstvak 28">
            <a:extLst>
              <a:ext uri="{FF2B5EF4-FFF2-40B4-BE49-F238E27FC236}">
                <a16:creationId xmlns:a16="http://schemas.microsoft.com/office/drawing/2014/main" id="{AD137627-2A6D-46B2-AEBB-2CDF3255171D}"/>
              </a:ext>
            </a:extLst>
          </p:cNvPr>
          <p:cNvSpPr txBox="1"/>
          <p:nvPr/>
        </p:nvSpPr>
        <p:spPr>
          <a:xfrm>
            <a:off x="1305515" y="2168589"/>
            <a:ext cx="16483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/>
              <a:t>Other (12%)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836B9981-7AD8-4EFD-A631-7E6DE500FFB1}"/>
              </a:ext>
            </a:extLst>
          </p:cNvPr>
          <p:cNvSpPr/>
          <p:nvPr/>
        </p:nvSpPr>
        <p:spPr>
          <a:xfrm>
            <a:off x="2514256" y="2840129"/>
            <a:ext cx="2015421" cy="2015421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chemeClr val="accent3"/>
                </a:solidFill>
                <a:latin typeface="+mj-lt"/>
              </a:rPr>
              <a:t>Net Sales*</a:t>
            </a:r>
          </a:p>
          <a:p>
            <a:pPr algn="ctr"/>
            <a:r>
              <a:rPr lang="en-US" sz="3200">
                <a:solidFill>
                  <a:schemeClr val="accent3"/>
                </a:solidFill>
                <a:latin typeface="+mj-lt"/>
              </a:rPr>
              <a:t>€9bn+</a:t>
            </a:r>
            <a:endParaRPr lang="en-US" sz="240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35E68344-895B-49ED-84E7-C9015B3F715B}"/>
              </a:ext>
            </a:extLst>
          </p:cNvPr>
          <p:cNvSpPr/>
          <p:nvPr/>
        </p:nvSpPr>
        <p:spPr>
          <a:xfrm>
            <a:off x="7987043" y="4625273"/>
            <a:ext cx="1158529" cy="1158529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schemeClr val="accent3"/>
                </a:solidFill>
                <a:latin typeface="+mj-lt"/>
              </a:rPr>
              <a:t>Net Sales*</a:t>
            </a:r>
          </a:p>
          <a:p>
            <a:pPr algn="ctr"/>
            <a:r>
              <a:rPr lang="en-US" sz="1400">
                <a:solidFill>
                  <a:schemeClr val="accent3"/>
                </a:solidFill>
                <a:latin typeface="+mj-lt"/>
              </a:rPr>
              <a:t>by region</a:t>
            </a:r>
          </a:p>
        </p:txBody>
      </p:sp>
    </p:spTree>
    <p:extLst>
      <p:ext uri="{BB962C8B-B14F-4D97-AF65-F5344CB8AC3E}">
        <p14:creationId xmlns:p14="http://schemas.microsoft.com/office/powerpoint/2010/main" val="3737333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11">
            <a:extLst>
              <a:ext uri="{FF2B5EF4-FFF2-40B4-BE49-F238E27FC236}">
                <a16:creationId xmlns:a16="http://schemas.microsoft.com/office/drawing/2014/main" id="{9C1A108D-76E4-4656-8B95-5AAC52E9B7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5169" y="1725051"/>
            <a:ext cx="6027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accent4"/>
                </a:solidFill>
                <a:latin typeface="+mn-lt"/>
              </a:rPr>
              <a:t>1930s</a:t>
            </a:r>
            <a:endParaRPr lang="en-US" altLang="en-US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C466EE6-1952-47D5-9F47-6E22D2CAA7B0}"/>
              </a:ext>
            </a:extLst>
          </p:cNvPr>
          <p:cNvSpPr txBox="1"/>
          <p:nvPr/>
        </p:nvSpPr>
        <p:spPr>
          <a:xfrm>
            <a:off x="3685169" y="2087560"/>
            <a:ext cx="2200585" cy="3365912"/>
          </a:xfrm>
          <a:prstGeom prst="rect">
            <a:avLst/>
          </a:prstGeom>
          <a:noFill/>
        </p:spPr>
        <p:txBody>
          <a:bodyPr wrap="square" lIns="0" tIns="0" rIns="0" bIns="7200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n-GB" sz="1600" b="1">
                <a:solidFill>
                  <a:srgbClr val="0070BA"/>
                </a:solidFill>
                <a:ea typeface="+mj-ea"/>
                <a:cs typeface="+mj-cs"/>
              </a:rPr>
              <a:t>F. Hoffmann-La Roche</a:t>
            </a:r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1200"/>
              <a:t>First chemical synthesis </a:t>
            </a:r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1200"/>
              <a:t>of vitamins</a:t>
            </a:r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1000" i="1"/>
              <a:t>(DSM acquired Roche Vitamins &amp; Fine Chemicals in 2003)</a:t>
            </a:r>
          </a:p>
        </p:txBody>
      </p:sp>
      <p:sp>
        <p:nvSpPr>
          <p:cNvPr id="27" name="Rectangle 111">
            <a:extLst>
              <a:ext uri="{FF2B5EF4-FFF2-40B4-BE49-F238E27FC236}">
                <a16:creationId xmlns:a16="http://schemas.microsoft.com/office/drawing/2014/main" id="{9B9685DF-7974-4F4B-BD2E-914F5F4A6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00" y="1725051"/>
            <a:ext cx="5017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accent4"/>
                </a:solidFill>
                <a:latin typeface="+mn-lt"/>
              </a:rPr>
              <a:t>1869</a:t>
            </a:r>
            <a:endParaRPr lang="en-US" altLang="en-US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4D31DF-8244-4CD4-9D5F-8CE4B2D3CDAB}"/>
              </a:ext>
            </a:extLst>
          </p:cNvPr>
          <p:cNvSpPr txBox="1"/>
          <p:nvPr/>
        </p:nvSpPr>
        <p:spPr>
          <a:xfrm>
            <a:off x="918000" y="2087560"/>
            <a:ext cx="2200585" cy="3242802"/>
          </a:xfrm>
          <a:prstGeom prst="rect">
            <a:avLst/>
          </a:prstGeom>
          <a:noFill/>
        </p:spPr>
        <p:txBody>
          <a:bodyPr wrap="square" lIns="0" tIns="0" rIns="0" bIns="7200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nl-NL" sz="1600" b="1">
                <a:solidFill>
                  <a:srgbClr val="0070BA"/>
                </a:solidFill>
                <a:ea typeface="+mj-ea"/>
                <a:cs typeface="+mj-cs"/>
              </a:rPr>
              <a:t>Gist- en Spiritusfabriek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n-GB" sz="1200"/>
              <a:t>First yeast and enzyme </a:t>
            </a:r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1200"/>
              <a:t>production at scale</a:t>
            </a:r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1000" i="1"/>
              <a:t>(DSM acquired Gist-Brocades in 1998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F21466-3021-4CC8-A483-5BA4ABB96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/>
              <a:t>150 years of scientific heritage with worldwide </a:t>
            </a:r>
            <a:r>
              <a:rPr lang="en-GB"/>
              <a:t>facilities</a:t>
            </a:r>
            <a:endParaRPr lang="en-NL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2B1A4E0-3F79-4C1C-8E68-4E1D2D0D1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5DB27C4-D2C8-40AA-9265-60673FB18154}"/>
              </a:ext>
            </a:extLst>
          </p:cNvPr>
          <p:cNvGrpSpPr/>
          <p:nvPr/>
        </p:nvGrpSpPr>
        <p:grpSpPr>
          <a:xfrm>
            <a:off x="6096000" y="2946111"/>
            <a:ext cx="5122334" cy="2580476"/>
            <a:chOff x="6096000" y="1289103"/>
            <a:chExt cx="5122334" cy="2580476"/>
          </a:xfrm>
        </p:grpSpPr>
        <p:pic>
          <p:nvPicPr>
            <p:cNvPr id="11" name="Picture 120">
              <a:extLst>
                <a:ext uri="{FF2B5EF4-FFF2-40B4-BE49-F238E27FC236}">
                  <a16:creationId xmlns:a16="http://schemas.microsoft.com/office/drawing/2014/main" id="{2ED14593-9CB1-440E-B068-CBD560E696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1289103"/>
              <a:ext cx="4900613" cy="25804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284242A-5EA7-46AB-99AE-E3148FA26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63000" y="1380029"/>
              <a:ext cx="2455334" cy="666723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427F45C-B641-40EB-85B7-913C39C771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7504" y="2595119"/>
              <a:ext cx="2418629" cy="667642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2989066-6A2F-4042-A139-5C3C51D28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178550" y="2375456"/>
              <a:ext cx="1677891" cy="668049"/>
            </a:xfrm>
            <a:prstGeom prst="rect">
              <a:avLst/>
            </a:prstGeom>
          </p:spPr>
        </p:pic>
      </p:grpSp>
      <p:pic>
        <p:nvPicPr>
          <p:cNvPr id="29698" name="Picture 2" descr="Wie sich Roche in 125 Jahren immer wieder neu erfunden hat">
            <a:extLst>
              <a:ext uri="{FF2B5EF4-FFF2-40B4-BE49-F238E27FC236}">
                <a16:creationId xmlns:a16="http://schemas.microsoft.com/office/drawing/2014/main" id="{9A7D1D16-069D-4C11-AA8A-C205B25D3539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25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85167" y="3363610"/>
            <a:ext cx="1460597" cy="1472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1971458-E6BF-49F4-ADA9-6E3A674EC5E4}"/>
              </a:ext>
            </a:extLst>
          </p:cNvPr>
          <p:cNvSpPr txBox="1"/>
          <p:nvPr/>
        </p:nvSpPr>
        <p:spPr>
          <a:xfrm>
            <a:off x="6306248" y="2087560"/>
            <a:ext cx="4967752" cy="565146"/>
          </a:xfrm>
          <a:prstGeom prst="rect">
            <a:avLst/>
          </a:prstGeom>
          <a:noFill/>
        </p:spPr>
        <p:txBody>
          <a:bodyPr wrap="square" lIns="0" tIns="0" rIns="0" bIns="72000" rtlCol="0">
            <a:spAutoFit/>
          </a:bodyPr>
          <a:lstStyle/>
          <a:p>
            <a:r>
              <a:rPr lang="en-US" sz="3200" b="1">
                <a:solidFill>
                  <a:srgbClr val="0070BA"/>
                </a:solidFill>
                <a:ea typeface="+mj-ea"/>
                <a:cs typeface="+mj-cs"/>
              </a:rPr>
              <a:t>~1,500</a:t>
            </a:r>
            <a:r>
              <a:rPr lang="en-US" sz="1600" b="1">
                <a:solidFill>
                  <a:srgbClr val="0070BA"/>
                </a:solidFill>
                <a:ea typeface="+mj-ea"/>
                <a:cs typeface="+mj-cs"/>
              </a:rPr>
              <a:t> </a:t>
            </a:r>
            <a:r>
              <a:rPr lang="en-US" sz="1200"/>
              <a:t>scientists in </a:t>
            </a:r>
            <a:r>
              <a:rPr lang="en-US" sz="3200" b="1">
                <a:solidFill>
                  <a:srgbClr val="0070BA"/>
                </a:solidFill>
                <a:ea typeface="+mj-ea"/>
                <a:cs typeface="+mj-cs"/>
              </a:rPr>
              <a:t>35</a:t>
            </a:r>
            <a:r>
              <a:rPr lang="en-US" sz="1200"/>
              <a:t> research laboratories worldwide</a:t>
            </a:r>
            <a:endParaRPr lang="en-GB"/>
          </a:p>
        </p:txBody>
      </p:sp>
      <p:sp>
        <p:nvSpPr>
          <p:cNvPr id="25" name="Rectangle 111">
            <a:extLst>
              <a:ext uri="{FF2B5EF4-FFF2-40B4-BE49-F238E27FC236}">
                <a16:creationId xmlns:a16="http://schemas.microsoft.com/office/drawing/2014/main" id="{371D0D63-AE14-4B64-B2C8-98577F653D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6248" y="1725051"/>
            <a:ext cx="6444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accent4"/>
                </a:solidFill>
                <a:latin typeface="+mn-lt"/>
              </a:rPr>
              <a:t>Today</a:t>
            </a:r>
            <a:endParaRPr lang="en-US" altLang="en-US">
              <a:solidFill>
                <a:schemeClr val="accent4"/>
              </a:solidFill>
              <a:latin typeface="+mn-lt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C607CFC8-BF14-4FB0-B9D6-EF745991143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000" y="3363609"/>
            <a:ext cx="1465002" cy="147203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60C297C-5CB1-4D7E-964B-44EF7ABB8A50}"/>
              </a:ext>
            </a:extLst>
          </p:cNvPr>
          <p:cNvSpPr txBox="1"/>
          <p:nvPr/>
        </p:nvSpPr>
        <p:spPr>
          <a:xfrm>
            <a:off x="7856441" y="5403476"/>
            <a:ext cx="35285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i="1"/>
              <a:t>Some of our bioscience research centers around the world</a:t>
            </a:r>
            <a:endParaRPr lang="en-GB" sz="1000" i="1" err="1"/>
          </a:p>
        </p:txBody>
      </p:sp>
    </p:spTree>
    <p:extLst>
      <p:ext uri="{BB962C8B-B14F-4D97-AF65-F5344CB8AC3E}">
        <p14:creationId xmlns:p14="http://schemas.microsoft.com/office/powerpoint/2010/main" val="3450001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/>
              <a:t>Scientific leadership enhanced through high quality M&amp;A</a:t>
            </a:r>
          </a:p>
        </p:txBody>
      </p:sp>
      <p:sp>
        <p:nvSpPr>
          <p:cNvPr id="43" name="Slide Number Placeholder 2">
            <a:extLst>
              <a:ext uri="{FF2B5EF4-FFF2-40B4-BE49-F238E27FC236}">
                <a16:creationId xmlns:a16="http://schemas.microsoft.com/office/drawing/2014/main" id="{1E50E2C4-5AC3-4FCA-AA25-428BEF6DD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52" name="TextBox 72">
            <a:extLst>
              <a:ext uri="{FF2B5EF4-FFF2-40B4-BE49-F238E27FC236}">
                <a16:creationId xmlns:a16="http://schemas.microsoft.com/office/drawing/2014/main" id="{4BE8915C-1990-4D09-A232-260B122CA43B}"/>
              </a:ext>
            </a:extLst>
          </p:cNvPr>
          <p:cNvSpPr txBox="1"/>
          <p:nvPr/>
        </p:nvSpPr>
        <p:spPr>
          <a:xfrm>
            <a:off x="1584960" y="4470063"/>
            <a:ext cx="9022080" cy="10106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b="1" kern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Strengthened bioscience </a:t>
            </a:r>
            <a:r>
              <a:rPr lang="en-US" sz="1400" kern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capabilities and expanded global </a:t>
            </a:r>
            <a:r>
              <a:rPr lang="en-US" sz="1400" b="1" kern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geographic reach</a:t>
            </a:r>
            <a:endParaRPr lang="en-US" sz="1400" kern="0">
              <a:latin typeface="Fira Sans" panose="020B0503050000020004" pitchFamily="34" charset="0"/>
              <a:ea typeface="Fira Sans" panose="020B0503050000020004" pitchFamily="34" charset="0"/>
              <a:cs typeface="Calibri" panose="020F0502020204030204" pitchFamily="34" charset="0"/>
            </a:endParaRPr>
          </a:p>
          <a:p>
            <a:pPr algn="ctr"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kern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Adding new product categories and </a:t>
            </a:r>
            <a:r>
              <a:rPr lang="en-US" sz="1400" b="1" kern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creating the most comprehensive portfolio </a:t>
            </a:r>
            <a:r>
              <a:rPr lang="en-US" sz="1400" kern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of nutritional solutions</a:t>
            </a:r>
          </a:p>
          <a:p>
            <a:pPr algn="ctr"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b="1" kern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Building a unique business model </a:t>
            </a:r>
            <a:r>
              <a:rPr lang="en-US" sz="1400" kern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with solutions/premix and extending this into precision and personalization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0CDF1EDE-4A71-43B4-88CD-743A1AE85B1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27862" y="3207172"/>
            <a:ext cx="999852" cy="251585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323A0A53-F6AC-4A57-BE5F-EAD0EF5CAA6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1380" y="2219257"/>
            <a:ext cx="712421" cy="16807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4DAA18E8-0E62-4199-BB2F-C48DC472D0D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1456" y="3057843"/>
            <a:ext cx="976804" cy="55024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AF98B4A0-21C9-47F8-A446-68882595D8D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8308" y="1925316"/>
            <a:ext cx="877731" cy="493544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21EBB1-29D8-469A-80B4-DEEA379AB53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136" y="2012526"/>
            <a:ext cx="845470" cy="319124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DAAF7115-2B3F-4901-AF98-C63B1453BA8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0823" y="1911467"/>
            <a:ext cx="779778" cy="521242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9713495-27BE-41D7-AC00-855E1DD92122}"/>
              </a:ext>
            </a:extLst>
          </p:cNvPr>
          <p:cNvGrpSpPr/>
          <p:nvPr/>
        </p:nvGrpSpPr>
        <p:grpSpPr>
          <a:xfrm>
            <a:off x="579276" y="2551487"/>
            <a:ext cx="10760558" cy="452486"/>
            <a:chOff x="579276" y="3157141"/>
            <a:chExt cx="10760558" cy="304800"/>
          </a:xfrm>
          <a:gradFill flip="none" rotWithShape="1">
            <a:gsLst>
              <a:gs pos="0">
                <a:schemeClr val="accent2"/>
              </a:gs>
              <a:gs pos="70055">
                <a:srgbClr val="EE7203"/>
              </a:gs>
              <a:gs pos="23829">
                <a:schemeClr val="accent3"/>
              </a:gs>
              <a:gs pos="100000">
                <a:srgbClr val="7B1F62"/>
              </a:gs>
              <a:gs pos="47000">
                <a:srgbClr val="339966"/>
              </a:gs>
            </a:gsLst>
            <a:lin ang="0" scaled="1"/>
            <a:tileRect/>
          </a:gradFill>
        </p:grpSpPr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265C6D6E-6EE6-4DFE-8372-69F9B638496B}"/>
                </a:ext>
              </a:extLst>
            </p:cNvPr>
            <p:cNvSpPr/>
            <p:nvPr/>
          </p:nvSpPr>
          <p:spPr bwMode="auto">
            <a:xfrm>
              <a:off x="579276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1</a:t>
              </a:r>
            </a:p>
          </p:txBody>
        </p:sp>
        <p:sp>
          <p:nvSpPr>
            <p:cNvPr id="29" name="Arrow: Chevron 28">
              <a:extLst>
                <a:ext uri="{FF2B5EF4-FFF2-40B4-BE49-F238E27FC236}">
                  <a16:creationId xmlns:a16="http://schemas.microsoft.com/office/drawing/2014/main" id="{59E6449B-2FAB-42AB-A363-9002DBD2C642}"/>
                </a:ext>
              </a:extLst>
            </p:cNvPr>
            <p:cNvSpPr/>
            <p:nvPr/>
          </p:nvSpPr>
          <p:spPr bwMode="auto">
            <a:xfrm>
              <a:off x="2706352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3</a:t>
              </a:r>
            </a:p>
          </p:txBody>
        </p:sp>
        <p:sp>
          <p:nvSpPr>
            <p:cNvPr id="30" name="Arrow: Chevron 29">
              <a:extLst>
                <a:ext uri="{FF2B5EF4-FFF2-40B4-BE49-F238E27FC236}">
                  <a16:creationId xmlns:a16="http://schemas.microsoft.com/office/drawing/2014/main" id="{7CF7C4E4-671A-4CA1-ACFD-D83BB30C6855}"/>
                </a:ext>
              </a:extLst>
            </p:cNvPr>
            <p:cNvSpPr/>
            <p:nvPr/>
          </p:nvSpPr>
          <p:spPr bwMode="auto">
            <a:xfrm>
              <a:off x="3769890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4</a:t>
              </a:r>
            </a:p>
          </p:txBody>
        </p:sp>
        <p:sp>
          <p:nvSpPr>
            <p:cNvPr id="31" name="Arrow: Chevron 30">
              <a:extLst>
                <a:ext uri="{FF2B5EF4-FFF2-40B4-BE49-F238E27FC236}">
                  <a16:creationId xmlns:a16="http://schemas.microsoft.com/office/drawing/2014/main" id="{82068D64-B596-400B-9739-FFE656F2BC2F}"/>
                </a:ext>
              </a:extLst>
            </p:cNvPr>
            <p:cNvSpPr/>
            <p:nvPr/>
          </p:nvSpPr>
          <p:spPr bwMode="auto">
            <a:xfrm>
              <a:off x="4833428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5</a:t>
              </a:r>
            </a:p>
          </p:txBody>
        </p:sp>
        <p:sp>
          <p:nvSpPr>
            <p:cNvPr id="32" name="Arrow: Chevron 31">
              <a:extLst>
                <a:ext uri="{FF2B5EF4-FFF2-40B4-BE49-F238E27FC236}">
                  <a16:creationId xmlns:a16="http://schemas.microsoft.com/office/drawing/2014/main" id="{7020049F-8A99-4740-99BB-F5B1AA122295}"/>
                </a:ext>
              </a:extLst>
            </p:cNvPr>
            <p:cNvSpPr/>
            <p:nvPr/>
          </p:nvSpPr>
          <p:spPr bwMode="auto">
            <a:xfrm>
              <a:off x="5896966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7</a:t>
              </a:r>
            </a:p>
          </p:txBody>
        </p:sp>
        <p:sp>
          <p:nvSpPr>
            <p:cNvPr id="33" name="Arrow: Chevron 32">
              <a:extLst>
                <a:ext uri="{FF2B5EF4-FFF2-40B4-BE49-F238E27FC236}">
                  <a16:creationId xmlns:a16="http://schemas.microsoft.com/office/drawing/2014/main" id="{BAAA9722-90E3-421A-A0D6-ED5171EC786F}"/>
                </a:ext>
              </a:extLst>
            </p:cNvPr>
            <p:cNvSpPr/>
            <p:nvPr/>
          </p:nvSpPr>
          <p:spPr bwMode="auto">
            <a:xfrm>
              <a:off x="1642814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2</a:t>
              </a:r>
            </a:p>
          </p:txBody>
        </p:sp>
        <p:sp>
          <p:nvSpPr>
            <p:cNvPr id="36" name="Arrow: Chevron 35">
              <a:extLst>
                <a:ext uri="{FF2B5EF4-FFF2-40B4-BE49-F238E27FC236}">
                  <a16:creationId xmlns:a16="http://schemas.microsoft.com/office/drawing/2014/main" id="{0A64B4F2-8597-4AE8-94F4-0640901067B5}"/>
                </a:ext>
              </a:extLst>
            </p:cNvPr>
            <p:cNvSpPr/>
            <p:nvPr/>
          </p:nvSpPr>
          <p:spPr bwMode="auto">
            <a:xfrm>
              <a:off x="6960504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8</a:t>
              </a:r>
            </a:p>
          </p:txBody>
        </p:sp>
        <p:sp>
          <p:nvSpPr>
            <p:cNvPr id="37" name="Arrow: Chevron 36">
              <a:extLst>
                <a:ext uri="{FF2B5EF4-FFF2-40B4-BE49-F238E27FC236}">
                  <a16:creationId xmlns:a16="http://schemas.microsoft.com/office/drawing/2014/main" id="{64035FFB-6239-4E48-9144-D17B60AC4187}"/>
                </a:ext>
              </a:extLst>
            </p:cNvPr>
            <p:cNvSpPr/>
            <p:nvPr/>
          </p:nvSpPr>
          <p:spPr bwMode="auto">
            <a:xfrm>
              <a:off x="8024042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9</a:t>
              </a:r>
            </a:p>
          </p:txBody>
        </p:sp>
        <p:sp>
          <p:nvSpPr>
            <p:cNvPr id="49" name="Arrow: Chevron 48">
              <a:extLst>
                <a:ext uri="{FF2B5EF4-FFF2-40B4-BE49-F238E27FC236}">
                  <a16:creationId xmlns:a16="http://schemas.microsoft.com/office/drawing/2014/main" id="{15B8E034-9C64-40C3-8E66-12BC5D52A141}"/>
                </a:ext>
              </a:extLst>
            </p:cNvPr>
            <p:cNvSpPr/>
            <p:nvPr/>
          </p:nvSpPr>
          <p:spPr bwMode="auto">
            <a:xfrm>
              <a:off x="9087580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20</a:t>
              </a:r>
            </a:p>
          </p:txBody>
        </p:sp>
        <p:sp>
          <p:nvSpPr>
            <p:cNvPr id="67" name="Arrow: Chevron 66">
              <a:extLst>
                <a:ext uri="{FF2B5EF4-FFF2-40B4-BE49-F238E27FC236}">
                  <a16:creationId xmlns:a16="http://schemas.microsoft.com/office/drawing/2014/main" id="{C42BD0BB-176C-471F-B323-C007DECC0721}"/>
                </a:ext>
              </a:extLst>
            </p:cNvPr>
            <p:cNvSpPr/>
            <p:nvPr/>
          </p:nvSpPr>
          <p:spPr bwMode="auto">
            <a:xfrm>
              <a:off x="10151114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21</a:t>
              </a:r>
            </a:p>
          </p:txBody>
        </p:sp>
      </p:grpSp>
      <p:pic>
        <p:nvPicPr>
          <p:cNvPr id="41" name="Picture 2" descr="Midori Animal Health">
            <a:extLst>
              <a:ext uri="{FF2B5EF4-FFF2-40B4-BE49-F238E27FC236}">
                <a16:creationId xmlns:a16="http://schemas.microsoft.com/office/drawing/2014/main" id="{92EFA02C-4101-410D-9B6C-E2AEEEA70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6066" y="1485739"/>
            <a:ext cx="578816" cy="372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7742E19B-6A87-4E89-8BC5-0F4F0F6159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7701" y="1465807"/>
            <a:ext cx="779778" cy="722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ee the source image">
            <a:extLst>
              <a:ext uri="{FF2B5EF4-FFF2-40B4-BE49-F238E27FC236}">
                <a16:creationId xmlns:a16="http://schemas.microsoft.com/office/drawing/2014/main" id="{B5AB6AA6-884C-444B-9248-81ACC01A2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01456" y="1953125"/>
            <a:ext cx="563200" cy="473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ee the source image">
            <a:extLst>
              <a:ext uri="{FF2B5EF4-FFF2-40B4-BE49-F238E27FC236}">
                <a16:creationId xmlns:a16="http://schemas.microsoft.com/office/drawing/2014/main" id="{C053EF55-A939-4210-92FF-639F9DA4AA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16865" y="1602130"/>
            <a:ext cx="932381" cy="186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CSK food enrichment logo">
            <a:extLst>
              <a:ext uri="{FF2B5EF4-FFF2-40B4-BE49-F238E27FC236}">
                <a16:creationId xmlns:a16="http://schemas.microsoft.com/office/drawing/2014/main" id="{F1F202CD-68F3-41FA-9AE9-8C379F9DDA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36730" y="3036573"/>
            <a:ext cx="624634" cy="335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See the source image">
            <a:extLst>
              <a:ext uri="{FF2B5EF4-FFF2-40B4-BE49-F238E27FC236}">
                <a16:creationId xmlns:a16="http://schemas.microsoft.com/office/drawing/2014/main" id="{28074DD3-E4F1-4774-9761-67DD258790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33438" y="3405331"/>
            <a:ext cx="631218" cy="526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Vestkorn is the leading European producer of ingredients from peas/beans">
            <a:extLst>
              <a:ext uri="{FF2B5EF4-FFF2-40B4-BE49-F238E27FC236}">
                <a16:creationId xmlns:a16="http://schemas.microsoft.com/office/drawing/2014/main" id="{445F4C40-1557-4728-8CA0-E2E050DB59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22624" y="3154577"/>
            <a:ext cx="645700" cy="400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1" name="Picture 7" descr="About First Choice Ingredients.">
            <a:extLst>
              <a:ext uri="{FF2B5EF4-FFF2-40B4-BE49-F238E27FC236}">
                <a16:creationId xmlns:a16="http://schemas.microsoft.com/office/drawing/2014/main" id="{21EAF3E5-16B0-47E9-B206-9785BA8CAB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23650" y="1989622"/>
            <a:ext cx="843648" cy="45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97273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>
            <a:extLst>
              <a:ext uri="{FF2B5EF4-FFF2-40B4-BE49-F238E27FC236}">
                <a16:creationId xmlns:a16="http://schemas.microsoft.com/office/drawing/2014/main" id="{A066E0E2-A5E9-4301-A79D-0FDFDCD29D3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Guiding our purpose-led, performance-driven culture </a:t>
            </a:r>
          </a:p>
        </p:txBody>
      </p:sp>
      <p:sp>
        <p:nvSpPr>
          <p:cNvPr id="18435" name="Slide Number Placeholder 2">
            <a:extLst>
              <a:ext uri="{FF2B5EF4-FFF2-40B4-BE49-F238E27FC236}">
                <a16:creationId xmlns:a16="http://schemas.microsoft.com/office/drawing/2014/main" id="{5740A1A9-FB6D-4A4F-B109-7196E8676E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468313" y="6340475"/>
            <a:ext cx="449262" cy="18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0" i="0" kern="1200" smtClean="0">
                <a:solidFill>
                  <a:srgbClr val="B2B2B2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091DEE-5A75-4B9B-B5D9-0B54350D5EBA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altLang="en-US">
              <a:solidFill>
                <a:srgbClr val="B2B2B2"/>
              </a:solidFill>
            </a:endParaRPr>
          </a:p>
        </p:txBody>
      </p:sp>
      <p:pic>
        <p:nvPicPr>
          <p:cNvPr id="18437" name="Picture 6" descr="Chart, sunburst chart&#10;&#10;Description automatically generated">
            <a:extLst>
              <a:ext uri="{FF2B5EF4-FFF2-40B4-BE49-F238E27FC236}">
                <a16:creationId xmlns:a16="http://schemas.microsoft.com/office/drawing/2014/main" id="{2AC5393F-9AA5-43DE-90CB-A6AAA4E80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14268" y="1758950"/>
            <a:ext cx="3792538" cy="373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72">
            <a:extLst>
              <a:ext uri="{FF2B5EF4-FFF2-40B4-BE49-F238E27FC236}">
                <a16:creationId xmlns:a16="http://schemas.microsoft.com/office/drawing/2014/main" id="{695183EC-7793-42C7-909A-A385D3B3A5CD}"/>
              </a:ext>
            </a:extLst>
          </p:cNvPr>
          <p:cNvSpPr txBox="1"/>
          <p:nvPr/>
        </p:nvSpPr>
        <p:spPr>
          <a:xfrm>
            <a:off x="1195939" y="2069926"/>
            <a:ext cx="4900061" cy="311184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kern="0">
                <a:ea typeface="Fira Sans" panose="020B0503050000020004" pitchFamily="34" charset="0"/>
                <a:cs typeface="Calibri" panose="020F0502020204030204" pitchFamily="34" charset="0"/>
              </a:rPr>
              <a:t>Our culture compass is a navigational tool that helps us steer DSM to where we aspire to be. It shows us </a:t>
            </a:r>
            <a:r>
              <a:rPr lang="en-US" sz="1400" b="1" kern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the future we’re aiming for</a:t>
            </a:r>
            <a:r>
              <a:rPr lang="en-US" sz="1400" kern="0">
                <a:ea typeface="Fira Sans" panose="020B0503050000020004" pitchFamily="34" charset="0"/>
                <a:cs typeface="Calibri" panose="020F0502020204030204" pitchFamily="34" charset="0"/>
              </a:rPr>
              <a:t>, while allowing each of us to </a:t>
            </a:r>
            <a:r>
              <a:rPr lang="en-US" sz="1400" b="1" kern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find our own ways of being DSM</a:t>
            </a:r>
            <a:r>
              <a:rPr lang="en-US" sz="1400" kern="0">
                <a:ea typeface="Fira Sans" panose="020B0503050000020004" pitchFamily="34" charset="0"/>
                <a:cs typeface="Calibri" panose="020F0502020204030204" pitchFamily="34" charset="0"/>
              </a:rPr>
              <a:t>. </a:t>
            </a:r>
          </a:p>
          <a:p>
            <a:pPr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kern="0">
                <a:ea typeface="Fira Sans" panose="020B0503050000020004" pitchFamily="34" charset="0"/>
                <a:cs typeface="Calibri" panose="020F0502020204030204" pitchFamily="34" charset="0"/>
              </a:rPr>
              <a:t>The compass also reflects our strategy to be </a:t>
            </a:r>
            <a:r>
              <a:rPr lang="en-US" sz="1400" b="1" kern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purpose-led</a:t>
            </a:r>
            <a:r>
              <a:rPr lang="en-US" sz="1400" kern="0">
                <a:ea typeface="Fira Sans" panose="020B0503050000020004" pitchFamily="34" charset="0"/>
                <a:cs typeface="Calibri" panose="020F0502020204030204" pitchFamily="34" charset="0"/>
              </a:rPr>
              <a:t> and </a:t>
            </a:r>
            <a:r>
              <a:rPr lang="en-US" sz="1400" b="1" kern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performance-driven</a:t>
            </a:r>
            <a:r>
              <a:rPr lang="en-US" sz="1400" kern="0">
                <a:ea typeface="Fira Sans" panose="020B0503050000020004" pitchFamily="34" charset="0"/>
                <a:cs typeface="Calibri" panose="020F0502020204030204" pitchFamily="34" charset="0"/>
              </a:rPr>
              <a:t>. Our purpose of creating brighter lives for all sits at the heart of the compass – it inspires everything we do. And we deliver performance by being more of who we are, and by taking decisions every day that show what we stand for.</a:t>
            </a:r>
          </a:p>
          <a:p>
            <a:pPr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kern="0">
                <a:ea typeface="Fira Sans" panose="020B0503050000020004" pitchFamily="34" charset="0"/>
                <a:cs typeface="Calibri" panose="020F0502020204030204" pitchFamily="34" charset="0"/>
              </a:rPr>
              <a:t>The six outer sections of the compass – our ways of being DSM – help us define </a:t>
            </a:r>
            <a:r>
              <a:rPr lang="en-US" sz="1400" b="1" kern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the culture we want to build </a:t>
            </a:r>
            <a:r>
              <a:rPr lang="en-US" sz="1400" kern="0">
                <a:ea typeface="Fira Sans" panose="020B0503050000020004" pitchFamily="34" charset="0"/>
                <a:cs typeface="Calibri" panose="020F0502020204030204" pitchFamily="34" charset="0"/>
              </a:rPr>
              <a:t>and </a:t>
            </a:r>
            <a:r>
              <a:rPr lang="en-US" sz="1400" b="1" kern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guide our day-to-day interactions and decisions</a:t>
            </a:r>
            <a:r>
              <a:rPr lang="en-US" sz="1400" kern="0">
                <a:ea typeface="Fira Sans" panose="020B0503050000020004" pitchFamily="34" charset="0"/>
                <a:cs typeface="Calibri" panose="020F0502020204030204" pitchFamily="34" charset="0"/>
              </a:rPr>
              <a:t>. 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9E313E3-ADC9-4863-81F6-716DE64238C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07" cy="6858000"/>
          </a:xfr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EBEE59E-5FEE-431A-AEC8-40C98E2A24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219432" cy="6858000"/>
          </a:xfrm>
          <a:prstGeom prst="rect">
            <a:avLst/>
          </a:prstGeom>
        </p:spPr>
      </p:pic>
      <p:sp>
        <p:nvSpPr>
          <p:cNvPr id="14" name="Rectangle 24">
            <a:extLst>
              <a:ext uri="{FF2B5EF4-FFF2-40B4-BE49-F238E27FC236}">
                <a16:creationId xmlns:a16="http://schemas.microsoft.com/office/drawing/2014/main" id="{49EE54C3-D0B0-4906-9F85-AF6DB2496B46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540000" y="2088000"/>
            <a:ext cx="9144000" cy="777136"/>
          </a:xfrm>
        </p:spPr>
        <p:txBody>
          <a:bodyPr/>
          <a:lstStyle/>
          <a:p>
            <a:r>
              <a:rPr lang="en-US" altLang="nl-NL"/>
              <a:t>DSM solutions already reach</a:t>
            </a:r>
          </a:p>
          <a:p>
            <a:r>
              <a:rPr lang="en-US" altLang="nl-NL"/>
              <a:t>2.5 billion+ people worldwid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4EDAA2-436C-4521-A847-D07D04B1F5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Our purpose is to create </a:t>
            </a:r>
            <a:br>
              <a:rPr lang="en-US"/>
            </a:br>
            <a:r>
              <a:rPr lang="en-US"/>
              <a:t>brighter lives for all </a:t>
            </a:r>
            <a:endParaRPr lang="en-GB"/>
          </a:p>
        </p:txBody>
      </p:sp>
      <p:pic>
        <p:nvPicPr>
          <p:cNvPr id="19" name="Picture 4" descr="Time For A New Normal In Global Capital Markets: Advancing Investment In  The Sustainable Development Goals (SDGs) — C-Change">
            <a:extLst>
              <a:ext uri="{FF2B5EF4-FFF2-40B4-BE49-F238E27FC236}">
                <a16:creationId xmlns:a16="http://schemas.microsoft.com/office/drawing/2014/main" id="{EC42E068-693F-4A3A-AD6C-26376CA2D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0000" y="3429000"/>
            <a:ext cx="2970191" cy="2970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9DA8BAC-0F43-488A-B170-DAC89E805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40778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/>
              <a:t>Accelerating our purpose-led, performance-driven journe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87CC560-1AF3-402A-A161-E56B2EDBD041}"/>
              </a:ext>
            </a:extLst>
          </p:cNvPr>
          <p:cNvGrpSpPr/>
          <p:nvPr/>
        </p:nvGrpSpPr>
        <p:grpSpPr>
          <a:xfrm>
            <a:off x="516215" y="1418159"/>
            <a:ext cx="2653324" cy="4411070"/>
            <a:chOff x="516215" y="1418159"/>
            <a:chExt cx="2653324" cy="4411070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45CCF70C-8EC7-4970-9CA2-9AA189872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6215" y="1418159"/>
              <a:ext cx="2653324" cy="2686407"/>
            </a:xfrm>
            <a:prstGeom prst="roundRect">
              <a:avLst>
                <a:gd name="adj" fmla="val 6446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96A18A86-A359-437E-94CB-7C908FA673A8}"/>
                </a:ext>
              </a:extLst>
            </p:cNvPr>
            <p:cNvSpPr/>
            <p:nvPr/>
          </p:nvSpPr>
          <p:spPr>
            <a:xfrm>
              <a:off x="521082" y="1418160"/>
              <a:ext cx="2643591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0" name="Rectangle: Top Corners Rounded 49">
              <a:extLst>
                <a:ext uri="{FF2B5EF4-FFF2-40B4-BE49-F238E27FC236}">
                  <a16:creationId xmlns:a16="http://schemas.microsoft.com/office/drawing/2014/main" id="{5F051143-5AC9-46FB-94AB-E41E8B4A9555}"/>
                </a:ext>
              </a:extLst>
            </p:cNvPr>
            <p:cNvSpPr/>
            <p:nvPr/>
          </p:nvSpPr>
          <p:spPr>
            <a:xfrm>
              <a:off x="521082" y="3908989"/>
              <a:ext cx="2643591" cy="1920240"/>
            </a:xfrm>
            <a:prstGeom prst="round2SameRect">
              <a:avLst>
                <a:gd name="adj1" fmla="val 0"/>
                <a:gd name="adj2" fmla="val 7769"/>
              </a:avLst>
            </a:prstGeom>
            <a:solidFill>
              <a:schemeClr val="accent3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>
                  <a:solidFill>
                    <a:schemeClr val="bg1"/>
                  </a:solidFill>
                </a:rPr>
                <a:t>Global food system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>
                  <a:solidFill>
                    <a:schemeClr val="bg1"/>
                  </a:solidFill>
                </a:rPr>
                <a:t>face multiple urgen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>
                  <a:solidFill>
                    <a:schemeClr val="bg1"/>
                  </a:solidFill>
                </a:rPr>
                <a:t>environmental an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>
                  <a:solidFill>
                    <a:schemeClr val="bg1"/>
                  </a:solidFill>
                </a:rPr>
                <a:t>societal </a:t>
              </a:r>
              <a:r>
                <a:rPr lang="en-US" sz="1600" b="1">
                  <a:solidFill>
                    <a:schemeClr val="bg1"/>
                  </a:solidFill>
                </a:rPr>
                <a:t>challenges</a:t>
              </a:r>
              <a:endParaRPr 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D1E0BA9-40D5-4908-A039-6B36A6B79A02}"/>
              </a:ext>
            </a:extLst>
          </p:cNvPr>
          <p:cNvGrpSpPr/>
          <p:nvPr/>
        </p:nvGrpSpPr>
        <p:grpSpPr>
          <a:xfrm>
            <a:off x="3403944" y="1418159"/>
            <a:ext cx="2653939" cy="4411070"/>
            <a:chOff x="3403944" y="1418159"/>
            <a:chExt cx="2653939" cy="4411070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0D4636AB-46B1-4C94-8E00-7EF1244652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3403944" y="1418159"/>
              <a:ext cx="2653939" cy="2686407"/>
            </a:xfrm>
            <a:prstGeom prst="roundRect">
              <a:avLst>
                <a:gd name="adj" fmla="val 554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5695FA36-EC79-4105-9949-91E04936DA94}"/>
                </a:ext>
              </a:extLst>
            </p:cNvPr>
            <p:cNvSpPr/>
            <p:nvPr/>
          </p:nvSpPr>
          <p:spPr>
            <a:xfrm>
              <a:off x="3409118" y="1418160"/>
              <a:ext cx="2643591" cy="4387241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1" name="Rectangle: Top Corners Rounded 50">
              <a:extLst>
                <a:ext uri="{FF2B5EF4-FFF2-40B4-BE49-F238E27FC236}">
                  <a16:creationId xmlns:a16="http://schemas.microsoft.com/office/drawing/2014/main" id="{5C5FD086-2345-47F1-AE44-CFA79FFF2B87}"/>
                </a:ext>
              </a:extLst>
            </p:cNvPr>
            <p:cNvSpPr/>
            <p:nvPr/>
          </p:nvSpPr>
          <p:spPr>
            <a:xfrm>
              <a:off x="3409118" y="3908989"/>
              <a:ext cx="2643591" cy="1920240"/>
            </a:xfrm>
            <a:prstGeom prst="round2SameRect">
              <a:avLst>
                <a:gd name="adj1" fmla="val 0"/>
                <a:gd name="adj2" fmla="val 7957"/>
              </a:avLst>
            </a:prstGeom>
            <a:solidFill>
              <a:schemeClr val="accent3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DSM has the </a:t>
              </a:r>
              <a:r>
                <a:rPr lang="en-US" sz="1600" b="1">
                  <a:solidFill>
                    <a:schemeClr val="bg1"/>
                  </a:solidFill>
                </a:rPr>
                <a:t>capability</a:t>
              </a:r>
              <a:r>
                <a:rPr lang="en-US" sz="1600">
                  <a:solidFill>
                    <a:schemeClr val="bg1"/>
                  </a:solidFill>
                </a:rPr>
                <a:t> </a:t>
              </a:r>
            </a:p>
            <a:p>
              <a:pPr algn="ctr"/>
              <a:r>
                <a:rPr lang="en-US" sz="1600">
                  <a:solidFill>
                    <a:schemeClr val="bg1"/>
                  </a:solidFill>
                </a:rPr>
                <a:t>and the </a:t>
              </a:r>
              <a:r>
                <a:rPr lang="en-US" sz="1600" b="1">
                  <a:solidFill>
                    <a:schemeClr val="bg1"/>
                  </a:solidFill>
                </a:rPr>
                <a:t>responsibility</a:t>
              </a:r>
              <a:r>
                <a:rPr lang="en-US" sz="1600">
                  <a:solidFill>
                    <a:schemeClr val="bg1"/>
                  </a:solidFill>
                </a:rPr>
                <a:t> </a:t>
              </a:r>
            </a:p>
            <a:p>
              <a:pPr algn="ctr"/>
              <a:r>
                <a:rPr lang="en-US" sz="1600">
                  <a:solidFill>
                    <a:schemeClr val="bg1"/>
                  </a:solidFill>
                </a:rPr>
                <a:t>to make a </a:t>
              </a:r>
            </a:p>
            <a:p>
              <a:pPr algn="ctr"/>
              <a:r>
                <a:rPr lang="en-US" sz="1600">
                  <a:solidFill>
                    <a:schemeClr val="bg1"/>
                  </a:solidFill>
                </a:rPr>
                <a:t>meaningful impact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4EEA442-E1E8-4A8E-A038-8480BEB3CB29}"/>
              </a:ext>
            </a:extLst>
          </p:cNvPr>
          <p:cNvGrpSpPr/>
          <p:nvPr/>
        </p:nvGrpSpPr>
        <p:grpSpPr>
          <a:xfrm>
            <a:off x="6311142" y="1418159"/>
            <a:ext cx="2653939" cy="4415319"/>
            <a:chOff x="6311142" y="1418159"/>
            <a:chExt cx="2653939" cy="441531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25078D4-40BA-4461-BA41-4A84C756BF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50"/>
            <a:stretch/>
          </p:blipFill>
          <p:spPr>
            <a:xfrm>
              <a:off x="6311142" y="1418159"/>
              <a:ext cx="2653939" cy="2686407"/>
            </a:xfrm>
            <a:prstGeom prst="roundRect">
              <a:avLst>
                <a:gd name="adj" fmla="val 554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ABDE120E-7561-4F94-87B8-18042E63F715}"/>
                </a:ext>
              </a:extLst>
            </p:cNvPr>
            <p:cNvSpPr/>
            <p:nvPr/>
          </p:nvSpPr>
          <p:spPr>
            <a:xfrm>
              <a:off x="6316316" y="1426439"/>
              <a:ext cx="2643591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3" name="Rectangle: Top Corners Rounded 52">
              <a:extLst>
                <a:ext uri="{FF2B5EF4-FFF2-40B4-BE49-F238E27FC236}">
                  <a16:creationId xmlns:a16="http://schemas.microsoft.com/office/drawing/2014/main" id="{A70CD333-DF04-4D0B-89F0-8C4AA7379C7A}"/>
                </a:ext>
              </a:extLst>
            </p:cNvPr>
            <p:cNvSpPr/>
            <p:nvPr/>
          </p:nvSpPr>
          <p:spPr>
            <a:xfrm>
              <a:off x="6316316" y="3908989"/>
              <a:ext cx="2643591" cy="1920240"/>
            </a:xfrm>
            <a:prstGeom prst="round2SameRect">
              <a:avLst>
                <a:gd name="adj1" fmla="val 0"/>
                <a:gd name="adj2" fmla="val 6727"/>
              </a:avLst>
            </a:prstGeom>
            <a:solidFill>
              <a:schemeClr val="accent3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DSM is fully focusing </a:t>
              </a:r>
            </a:p>
            <a:p>
              <a:pPr algn="ctr"/>
              <a:r>
                <a:rPr lang="en-US" sz="1600">
                  <a:solidFill>
                    <a:schemeClr val="bg1"/>
                  </a:solidFill>
                </a:rPr>
                <a:t>its resources on</a:t>
              </a:r>
              <a:endParaRPr lang="en-US" sz="1600" b="1">
                <a:solidFill>
                  <a:schemeClr val="bg1"/>
                </a:solidFill>
              </a:endParaRPr>
            </a:p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Health, Nutrition &amp; Bioscience</a:t>
              </a:r>
              <a:endParaRPr lang="en-US" sz="160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28ED85E-5796-43CC-99D2-21B22A8D036C}"/>
              </a:ext>
            </a:extLst>
          </p:cNvPr>
          <p:cNvGrpSpPr/>
          <p:nvPr/>
        </p:nvGrpSpPr>
        <p:grpSpPr>
          <a:xfrm>
            <a:off x="9202686" y="1414130"/>
            <a:ext cx="2653939" cy="4415099"/>
            <a:chOff x="9202686" y="1414130"/>
            <a:chExt cx="2653939" cy="441509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95BB0A9-4692-4333-9BE4-C54B0FADFC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02686" y="1414130"/>
              <a:ext cx="2653939" cy="2686407"/>
            </a:xfrm>
            <a:prstGeom prst="roundRect">
              <a:avLst>
                <a:gd name="adj" fmla="val 554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E93C5A45-6F4B-4A11-AA92-310FC53D8CA5}"/>
                </a:ext>
              </a:extLst>
            </p:cNvPr>
            <p:cNvSpPr/>
            <p:nvPr/>
          </p:nvSpPr>
          <p:spPr>
            <a:xfrm>
              <a:off x="9207860" y="1418160"/>
              <a:ext cx="2643591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5" name="Rectangle: Top Corners Rounded 54">
              <a:extLst>
                <a:ext uri="{FF2B5EF4-FFF2-40B4-BE49-F238E27FC236}">
                  <a16:creationId xmlns:a16="http://schemas.microsoft.com/office/drawing/2014/main" id="{8B607B05-9117-4F4E-97CE-7A155E736CFA}"/>
                </a:ext>
              </a:extLst>
            </p:cNvPr>
            <p:cNvSpPr/>
            <p:nvPr/>
          </p:nvSpPr>
          <p:spPr>
            <a:xfrm>
              <a:off x="9207860" y="3908989"/>
              <a:ext cx="2643591" cy="1920240"/>
            </a:xfrm>
            <a:prstGeom prst="round2SameRect">
              <a:avLst>
                <a:gd name="adj1" fmla="val 0"/>
                <a:gd name="adj2" fmla="val 7120"/>
              </a:avLst>
            </a:prstGeom>
            <a:solidFill>
              <a:schemeClr val="accent3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Addressing these </a:t>
              </a:r>
            </a:p>
            <a:p>
              <a:pPr algn="ctr"/>
              <a:r>
                <a:rPr lang="en-US" sz="1600">
                  <a:solidFill>
                    <a:schemeClr val="bg1"/>
                  </a:solidFill>
                </a:rPr>
                <a:t>challenges offers</a:t>
              </a:r>
            </a:p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exciting new market </a:t>
              </a:r>
            </a:p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opportunities </a:t>
              </a:r>
              <a:r>
                <a:rPr lang="en-US" sz="1600">
                  <a:solidFill>
                    <a:schemeClr val="bg1"/>
                  </a:solidFill>
                </a:rPr>
                <a:t>for DSM</a:t>
              </a:r>
            </a:p>
          </p:txBody>
        </p:sp>
      </p:grpSp>
      <p:sp>
        <p:nvSpPr>
          <p:cNvPr id="24" name="Slide Number Placeholder 21">
            <a:extLst>
              <a:ext uri="{FF2B5EF4-FFF2-40B4-BE49-F238E27FC236}">
                <a16:creationId xmlns:a16="http://schemas.microsoft.com/office/drawing/2014/main" id="{F808AE41-7B22-4694-94D0-5315303A3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</p:spPr>
        <p:txBody>
          <a:bodyPr/>
          <a:lstStyle/>
          <a:p>
            <a:fld id="{E118D48E-C7CB-6244-969D-7BAEA9B6226C}" type="slidenum">
              <a:rPr lang="en-US" noProof="0" smtClean="0"/>
              <a:pPr/>
              <a:t>8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809705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/>
              <a:t>Multiple interconnected challenges to global food systems</a:t>
            </a:r>
          </a:p>
        </p:txBody>
      </p:sp>
      <p:sp>
        <p:nvSpPr>
          <p:cNvPr id="102" name="Slide Number Placeholder 2">
            <a:extLst>
              <a:ext uri="{FF2B5EF4-FFF2-40B4-BE49-F238E27FC236}">
                <a16:creationId xmlns:a16="http://schemas.microsoft.com/office/drawing/2014/main" id="{DFC4D7D5-BFDD-49CD-9977-361EAA288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A181B6B1-165A-4FBF-95A5-3791C382B3C9}"/>
              </a:ext>
            </a:extLst>
          </p:cNvPr>
          <p:cNvGrpSpPr/>
          <p:nvPr/>
        </p:nvGrpSpPr>
        <p:grpSpPr>
          <a:xfrm>
            <a:off x="4266179" y="1324649"/>
            <a:ext cx="3657600" cy="4418646"/>
            <a:chOff x="4287951" y="1324649"/>
            <a:chExt cx="3657600" cy="4418646"/>
          </a:xfrm>
        </p:grpSpPr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1FD1C28E-1CFA-4B15-9669-3BD64A432C52}"/>
                </a:ext>
              </a:extLst>
            </p:cNvPr>
            <p:cNvSpPr/>
            <p:nvPr/>
          </p:nvSpPr>
          <p:spPr>
            <a:xfrm>
              <a:off x="4287951" y="1324649"/>
              <a:ext cx="3657600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rgbClr val="45AC3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0" name="Rectangle: Top Corners Rounded 289">
              <a:extLst>
                <a:ext uri="{FF2B5EF4-FFF2-40B4-BE49-F238E27FC236}">
                  <a16:creationId xmlns:a16="http://schemas.microsoft.com/office/drawing/2014/main" id="{866BC1A6-D20D-4059-9BA2-6D8E462CFF12}"/>
                </a:ext>
              </a:extLst>
            </p:cNvPr>
            <p:cNvSpPr/>
            <p:nvPr/>
          </p:nvSpPr>
          <p:spPr>
            <a:xfrm>
              <a:off x="4287951" y="5063698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rgbClr val="45AC34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Health for Planet</a:t>
              </a:r>
            </a:p>
          </p:txBody>
        </p:sp>
        <p:grpSp>
          <p:nvGrpSpPr>
            <p:cNvPr id="291" name="Group 290">
              <a:extLst>
                <a:ext uri="{FF2B5EF4-FFF2-40B4-BE49-F238E27FC236}">
                  <a16:creationId xmlns:a16="http://schemas.microsoft.com/office/drawing/2014/main" id="{B4C2F59E-6968-4637-9A14-D24AC1961BB2}"/>
                </a:ext>
              </a:extLst>
            </p:cNvPr>
            <p:cNvGrpSpPr/>
            <p:nvPr/>
          </p:nvGrpSpPr>
          <p:grpSpPr>
            <a:xfrm>
              <a:off x="7214442" y="5090446"/>
              <a:ext cx="626099" cy="626099"/>
              <a:chOff x="7246829" y="5331076"/>
              <a:chExt cx="626099" cy="626099"/>
            </a:xfrm>
          </p:grpSpPr>
          <p:sp>
            <p:nvSpPr>
              <p:cNvPr id="332" name="Oval 331">
                <a:extLst>
                  <a:ext uri="{FF2B5EF4-FFF2-40B4-BE49-F238E27FC236}">
                    <a16:creationId xmlns:a16="http://schemas.microsoft.com/office/drawing/2014/main" id="{C6F1A528-CEE9-4652-9BA2-901D7DB338A8}"/>
                  </a:ext>
                </a:extLst>
              </p:cNvPr>
              <p:cNvSpPr/>
              <p:nvPr/>
            </p:nvSpPr>
            <p:spPr>
              <a:xfrm>
                <a:off x="7295525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33" name="Graphic 332" descr="Earth globe: Americas with solid fill">
                <a:extLst>
                  <a:ext uri="{FF2B5EF4-FFF2-40B4-BE49-F238E27FC236}">
                    <a16:creationId xmlns:a16="http://schemas.microsoft.com/office/drawing/2014/main" id="{94D029B3-0165-40A6-B183-82B87EBE90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246829" y="5331076"/>
                <a:ext cx="626099" cy="626099"/>
              </a:xfrm>
              <a:prstGeom prst="rect">
                <a:avLst/>
              </a:prstGeom>
            </p:spPr>
          </p:pic>
        </p:grpSp>
        <p:sp>
          <p:nvSpPr>
            <p:cNvPr id="292" name="object 24">
              <a:extLst>
                <a:ext uri="{FF2B5EF4-FFF2-40B4-BE49-F238E27FC236}">
                  <a16:creationId xmlns:a16="http://schemas.microsoft.com/office/drawing/2014/main" id="{FC086726-C3B3-4CC2-B990-C25001131E32}"/>
                </a:ext>
              </a:extLst>
            </p:cNvPr>
            <p:cNvSpPr txBox="1"/>
            <p:nvPr/>
          </p:nvSpPr>
          <p:spPr>
            <a:xfrm>
              <a:off x="5244868" y="1664721"/>
              <a:ext cx="2546980" cy="1001901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spAutoFit/>
            </a:bodyPr>
            <a:lstStyle/>
            <a:p>
              <a:pPr marL="16851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>
                  <a:solidFill>
                    <a:srgbClr val="45AC34"/>
                  </a:solidFill>
                  <a:cs typeface="Arial" panose="020B0604020202020204" pitchFamily="34" charset="0"/>
                </a:rPr>
                <a:t>E</a:t>
              </a: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missions</a:t>
              </a:r>
              <a:r>
                <a:rPr kumimoji="0" lang="en-GB" sz="1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, incl.</a:t>
              </a:r>
              <a:r>
                <a:rPr lang="en-GB" sz="1600">
                  <a:cs typeface="Arial" panose="020B0604020202020204" pitchFamily="34" charset="0"/>
                </a:rPr>
                <a:t> green house</a:t>
              </a:r>
              <a:r>
                <a:rPr kumimoji="0" lang="en-GB" sz="1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  <a:r>
                <a:rPr lang="en-GB" sz="1600">
                  <a:cs typeface="Arial" panose="020B0604020202020204" pitchFamily="34" charset="0"/>
                </a:rPr>
                <a:t>g</a:t>
              </a:r>
              <a:r>
                <a:rPr kumimoji="0" lang="en-GB" sz="1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asses (e.g. methane), nitrogen, ammonia and phosphorus </a:t>
              </a:r>
            </a:p>
          </p:txBody>
        </p:sp>
        <p:sp>
          <p:nvSpPr>
            <p:cNvPr id="293" name="object 24">
              <a:extLst>
                <a:ext uri="{FF2B5EF4-FFF2-40B4-BE49-F238E27FC236}">
                  <a16:creationId xmlns:a16="http://schemas.microsoft.com/office/drawing/2014/main" id="{F564B821-E2A1-46FF-8905-DD5A9E11A108}"/>
                </a:ext>
              </a:extLst>
            </p:cNvPr>
            <p:cNvSpPr txBox="1"/>
            <p:nvPr/>
          </p:nvSpPr>
          <p:spPr>
            <a:xfrm>
              <a:off x="5244868" y="4457350"/>
              <a:ext cx="2464206" cy="239534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noAutofit/>
            </a:bodyPr>
            <a:lstStyle/>
            <a:p>
              <a:pPr marL="16851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>
                  <a:solidFill>
                    <a:srgbClr val="45AC34"/>
                  </a:solidFill>
                  <a:cs typeface="Arial" panose="020B0604020202020204" pitchFamily="34" charset="0"/>
                </a:rPr>
                <a:t>Food loss &amp; waste</a:t>
              </a: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5AC34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4" name="object 24">
              <a:extLst>
                <a:ext uri="{FF2B5EF4-FFF2-40B4-BE49-F238E27FC236}">
                  <a16:creationId xmlns:a16="http://schemas.microsoft.com/office/drawing/2014/main" id="{75D5B72B-A46D-4A4B-B3CA-0EF5B61C889A}"/>
                </a:ext>
              </a:extLst>
            </p:cNvPr>
            <p:cNvSpPr txBox="1"/>
            <p:nvPr/>
          </p:nvSpPr>
          <p:spPr>
            <a:xfrm>
              <a:off x="5244868" y="3111407"/>
              <a:ext cx="2269443" cy="755679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spAutoFit/>
            </a:bodyPr>
            <a:lstStyle/>
            <a:p>
              <a:pPr marL="16851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>
                  <a:cs typeface="Arial" panose="020B0604020202020204" pitchFamily="34" charset="0"/>
                </a:rPr>
                <a:t>Loss of </a:t>
              </a:r>
              <a:r>
                <a:rPr lang="en-US" sz="1600" b="1">
                  <a:solidFill>
                    <a:srgbClr val="45AC34"/>
                  </a:solidFill>
                  <a:cs typeface="Arial" panose="020B0604020202020204" pitchFamily="34" charset="0"/>
                </a:rPr>
                <a:t>biodiversity</a:t>
              </a:r>
              <a:r>
                <a:rPr lang="en-US" sz="1600">
                  <a:solidFill>
                    <a:srgbClr val="007E4B"/>
                  </a:solidFill>
                  <a:cs typeface="Arial" panose="020B0604020202020204" pitchFamily="34" charset="0"/>
                </a:rPr>
                <a:t>, </a:t>
              </a:r>
              <a:r>
                <a:rPr lang="en-US" sz="1600" b="1">
                  <a:solidFill>
                    <a:srgbClr val="45AC34"/>
                  </a:solidFill>
                  <a:cs typeface="Arial" panose="020B0604020202020204" pitchFamily="34" charset="0"/>
                </a:rPr>
                <a:t>deforestation</a:t>
              </a:r>
              <a:r>
                <a:rPr lang="en-US" sz="1600">
                  <a:cs typeface="Arial" panose="020B0604020202020204" pitchFamily="34" charset="0"/>
                </a:rPr>
                <a:t>, </a:t>
              </a:r>
              <a:r>
                <a:rPr lang="en-US" sz="1600" b="1">
                  <a:solidFill>
                    <a:srgbClr val="45AC34"/>
                  </a:solidFill>
                  <a:cs typeface="Arial" panose="020B0604020202020204" pitchFamily="34" charset="0"/>
                </a:rPr>
                <a:t>land </a:t>
              </a:r>
              <a:r>
                <a:rPr lang="en-US" sz="1600">
                  <a:cs typeface="Arial" panose="020B0604020202020204" pitchFamily="34" charset="0"/>
                </a:rPr>
                <a:t>and </a:t>
              </a:r>
              <a:r>
                <a:rPr lang="en-US" sz="1600" b="1">
                  <a:solidFill>
                    <a:srgbClr val="45AC34"/>
                  </a:solidFill>
                  <a:cs typeface="Arial" panose="020B0604020202020204" pitchFamily="34" charset="0"/>
                </a:rPr>
                <a:t>ocean ecosystem </a:t>
              </a:r>
              <a:r>
                <a:rPr lang="en-US" sz="1600">
                  <a:cs typeface="Arial" panose="020B0604020202020204" pitchFamily="34" charset="0"/>
                </a:rPr>
                <a:t>loss</a:t>
              </a:r>
              <a:endParaRPr kumimoji="0" lang="en-GB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5" name="Rectangle: Rounded Corners 294">
              <a:extLst>
                <a:ext uri="{FF2B5EF4-FFF2-40B4-BE49-F238E27FC236}">
                  <a16:creationId xmlns:a16="http://schemas.microsoft.com/office/drawing/2014/main" id="{438AB276-1B8F-4085-956E-35B220F12F15}"/>
                </a:ext>
              </a:extLst>
            </p:cNvPr>
            <p:cNvSpPr/>
            <p:nvPr/>
          </p:nvSpPr>
          <p:spPr>
            <a:xfrm>
              <a:off x="4439636" y="2821245"/>
              <a:ext cx="675288" cy="1336002"/>
            </a:xfrm>
            <a:prstGeom prst="roundRect">
              <a:avLst/>
            </a:prstGeom>
            <a:solidFill>
              <a:schemeClr val="bg2"/>
            </a:solidFill>
            <a:ln w="19050">
              <a:solidFill>
                <a:srgbClr val="45AC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D7940A11-CA32-43FD-BD01-A7159833E2A3}"/>
                </a:ext>
              </a:extLst>
            </p:cNvPr>
            <p:cNvGrpSpPr/>
            <p:nvPr/>
          </p:nvGrpSpPr>
          <p:grpSpPr>
            <a:xfrm>
              <a:off x="4493581" y="2828579"/>
              <a:ext cx="567398" cy="1349202"/>
              <a:chOff x="5166036" y="3231761"/>
              <a:chExt cx="567398" cy="1349202"/>
            </a:xfrm>
            <a:solidFill>
              <a:srgbClr val="45AC34"/>
            </a:solidFill>
          </p:grpSpPr>
          <p:pic>
            <p:nvPicPr>
              <p:cNvPr id="329" name="Graphic 328" descr="Forest scene with solid fill">
                <a:extLst>
                  <a:ext uri="{FF2B5EF4-FFF2-40B4-BE49-F238E27FC236}">
                    <a16:creationId xmlns:a16="http://schemas.microsoft.com/office/drawing/2014/main" id="{492B60A3-5DA6-4613-A4C3-D87A45F4CB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189550" y="3231761"/>
                <a:ext cx="520371" cy="520371"/>
              </a:xfrm>
              <a:prstGeom prst="rect">
                <a:avLst/>
              </a:prstGeom>
            </p:spPr>
          </p:pic>
          <p:pic>
            <p:nvPicPr>
              <p:cNvPr id="330" name="Graphic 329" descr="Fish with solid fill">
                <a:extLst>
                  <a:ext uri="{FF2B5EF4-FFF2-40B4-BE49-F238E27FC236}">
                    <a16:creationId xmlns:a16="http://schemas.microsoft.com/office/drawing/2014/main" id="{1A88F379-72DE-4F7A-9663-E290ECC519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5166036" y="3653928"/>
                <a:ext cx="567398" cy="567398"/>
              </a:xfrm>
              <a:prstGeom prst="rect">
                <a:avLst/>
              </a:prstGeom>
            </p:spPr>
          </p:pic>
          <p:pic>
            <p:nvPicPr>
              <p:cNvPr id="331" name="Graphic 330" descr="Leaky Tap with solid fill">
                <a:extLst>
                  <a:ext uri="{FF2B5EF4-FFF2-40B4-BE49-F238E27FC236}">
                    <a16:creationId xmlns:a16="http://schemas.microsoft.com/office/drawing/2014/main" id="{F782E3CF-9076-4737-83D6-414DE2039A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205008" y="4091509"/>
                <a:ext cx="489454" cy="489454"/>
              </a:xfrm>
              <a:prstGeom prst="rect">
                <a:avLst/>
              </a:prstGeom>
            </p:spPr>
          </p:pic>
        </p:grpSp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4E910918-C55E-45F3-A1E6-F7B70EB534E3}"/>
                </a:ext>
              </a:extLst>
            </p:cNvPr>
            <p:cNvGrpSpPr/>
            <p:nvPr/>
          </p:nvGrpSpPr>
          <p:grpSpPr>
            <a:xfrm>
              <a:off x="4439636" y="4270793"/>
              <a:ext cx="675288" cy="612648"/>
              <a:chOff x="4472023" y="4511423"/>
              <a:chExt cx="675288" cy="612648"/>
            </a:xfrm>
          </p:grpSpPr>
          <p:sp>
            <p:nvSpPr>
              <p:cNvPr id="321" name="Rectangle: Rounded Corners 320">
                <a:extLst>
                  <a:ext uri="{FF2B5EF4-FFF2-40B4-BE49-F238E27FC236}">
                    <a16:creationId xmlns:a16="http://schemas.microsoft.com/office/drawing/2014/main" id="{EEB9B14A-03A3-402F-BE7A-3AAF01499DEE}"/>
                  </a:ext>
                </a:extLst>
              </p:cNvPr>
              <p:cNvSpPr/>
              <p:nvPr/>
            </p:nvSpPr>
            <p:spPr>
              <a:xfrm>
                <a:off x="4472023" y="4511423"/>
                <a:ext cx="675288" cy="612648"/>
              </a:xfrm>
              <a:prstGeom prst="roundRect">
                <a:avLst/>
              </a:prstGeom>
              <a:solidFill>
                <a:schemeClr val="bg2"/>
              </a:solidFill>
              <a:ln w="19050">
                <a:solidFill>
                  <a:srgbClr val="45AC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22" name="Graphic 321" descr="Apple with solid fill">
                <a:extLst>
                  <a:ext uri="{FF2B5EF4-FFF2-40B4-BE49-F238E27FC236}">
                    <a16:creationId xmlns:a16="http://schemas.microsoft.com/office/drawing/2014/main" id="{2B51AD0C-5BAC-4264-BE05-0C8770864E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>
                <a:fillRect/>
              </a:stretch>
            </p:blipFill>
            <p:spPr>
              <a:xfrm rot="20700000">
                <a:off x="4549560" y="4521490"/>
                <a:ext cx="261500" cy="261500"/>
              </a:xfrm>
              <a:custGeom>
                <a:avLst/>
                <a:gdLst>
                  <a:gd name="connsiteX0" fmla="*/ 736939 w 914400"/>
                  <a:gd name="connsiteY0" fmla="*/ 406867 h 914400"/>
                  <a:gd name="connsiteX1" fmla="*/ 624397 w 914400"/>
                  <a:gd name="connsiteY1" fmla="*/ 555899 h 914400"/>
                  <a:gd name="connsiteX2" fmla="*/ 736939 w 914400"/>
                  <a:gd name="connsiteY2" fmla="*/ 704931 h 914400"/>
                  <a:gd name="connsiteX3" fmla="*/ 849481 w 914400"/>
                  <a:gd name="connsiteY3" fmla="*/ 555899 h 914400"/>
                  <a:gd name="connsiteX4" fmla="*/ 736939 w 914400"/>
                  <a:gd name="connsiteY4" fmla="*/ 406867 h 914400"/>
                  <a:gd name="connsiteX5" fmla="*/ 0 w 914400"/>
                  <a:gd name="connsiteY5" fmla="*/ 0 h 914400"/>
                  <a:gd name="connsiteX6" fmla="*/ 914400 w 914400"/>
                  <a:gd name="connsiteY6" fmla="*/ 0 h 914400"/>
                  <a:gd name="connsiteX7" fmla="*/ 914400 w 914400"/>
                  <a:gd name="connsiteY7" fmla="*/ 914400 h 914400"/>
                  <a:gd name="connsiteX8" fmla="*/ 0 w 914400"/>
                  <a:gd name="connsiteY8" fmla="*/ 9144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400" h="914400">
                    <a:moveTo>
                      <a:pt x="736939" y="406867"/>
                    </a:moveTo>
                    <a:cubicBezTo>
                      <a:pt x="674784" y="406867"/>
                      <a:pt x="624397" y="473591"/>
                      <a:pt x="624397" y="555899"/>
                    </a:cubicBezTo>
                    <a:cubicBezTo>
                      <a:pt x="624397" y="638207"/>
                      <a:pt x="674784" y="704931"/>
                      <a:pt x="736939" y="704931"/>
                    </a:cubicBezTo>
                    <a:cubicBezTo>
                      <a:pt x="799094" y="704931"/>
                      <a:pt x="849481" y="638207"/>
                      <a:pt x="849481" y="555899"/>
                    </a:cubicBezTo>
                    <a:cubicBezTo>
                      <a:pt x="849481" y="473591"/>
                      <a:pt x="799094" y="406867"/>
                      <a:pt x="736939" y="406867"/>
                    </a:cubicBezTo>
                    <a:close/>
                    <a:moveTo>
                      <a:pt x="0" y="0"/>
                    </a:moveTo>
                    <a:lnTo>
                      <a:pt x="914400" y="0"/>
                    </a:lnTo>
                    <a:lnTo>
                      <a:pt x="914400" y="914400"/>
                    </a:lnTo>
                    <a:lnTo>
                      <a:pt x="0" y="914400"/>
                    </a:lnTo>
                    <a:close/>
                  </a:path>
                </a:pathLst>
              </a:custGeom>
            </p:spPr>
          </p:pic>
          <p:sp>
            <p:nvSpPr>
              <p:cNvPr id="323" name="Freeform: Shape 322" descr="Chicken leg with solid fill">
                <a:extLst>
                  <a:ext uri="{FF2B5EF4-FFF2-40B4-BE49-F238E27FC236}">
                    <a16:creationId xmlns:a16="http://schemas.microsoft.com/office/drawing/2014/main" id="{912DA8D1-E5DB-4640-8573-7C00CEF4705B}"/>
                  </a:ext>
                </a:extLst>
              </p:cNvPr>
              <p:cNvSpPr/>
              <p:nvPr/>
            </p:nvSpPr>
            <p:spPr>
              <a:xfrm rot="9000000">
                <a:off x="4801208" y="4574445"/>
                <a:ext cx="256221" cy="256254"/>
              </a:xfrm>
              <a:custGeom>
                <a:avLst/>
                <a:gdLst>
                  <a:gd name="connsiteX0" fmla="*/ 258002 w 789422"/>
                  <a:gd name="connsiteY0" fmla="*/ 482603 h 789521"/>
                  <a:gd name="connsiteX1" fmla="*/ 185612 w 789422"/>
                  <a:gd name="connsiteY1" fmla="*/ 554993 h 789521"/>
                  <a:gd name="connsiteX2" fmla="*/ 180182 w 789422"/>
                  <a:gd name="connsiteY2" fmla="*/ 558818 h 789521"/>
                  <a:gd name="connsiteX3" fmla="*/ 154846 w 789422"/>
                  <a:gd name="connsiteY3" fmla="*/ 549659 h 789521"/>
                  <a:gd name="connsiteX4" fmla="*/ 143130 w 789422"/>
                  <a:gd name="connsiteY4" fmla="*/ 532419 h 789521"/>
                  <a:gd name="connsiteX5" fmla="*/ 56072 w 789422"/>
                  <a:gd name="connsiteY5" fmla="*/ 532419 h 789521"/>
                  <a:gd name="connsiteX6" fmla="*/ 56205 w 789422"/>
                  <a:gd name="connsiteY6" fmla="*/ 613370 h 789521"/>
                  <a:gd name="connsiteX7" fmla="*/ 143035 w 789422"/>
                  <a:gd name="connsiteY7" fmla="*/ 619096 h 789521"/>
                  <a:gd name="connsiteX8" fmla="*/ 170181 w 789422"/>
                  <a:gd name="connsiteY8" fmla="*/ 619286 h 789521"/>
                  <a:gd name="connsiteX9" fmla="*/ 169991 w 789422"/>
                  <a:gd name="connsiteY9" fmla="*/ 646433 h 789521"/>
                  <a:gd name="connsiteX10" fmla="*/ 169991 w 789422"/>
                  <a:gd name="connsiteY10" fmla="*/ 733411 h 789521"/>
                  <a:gd name="connsiteX11" fmla="*/ 257009 w 789422"/>
                  <a:gd name="connsiteY11" fmla="*/ 733451 h 789521"/>
                  <a:gd name="connsiteX12" fmla="*/ 257049 w 789422"/>
                  <a:gd name="connsiteY12" fmla="*/ 646433 h 789521"/>
                  <a:gd name="connsiteX13" fmla="*/ 239809 w 789422"/>
                  <a:gd name="connsiteY13" fmla="*/ 634622 h 789521"/>
                  <a:gd name="connsiteX14" fmla="*/ 234542 w 789422"/>
                  <a:gd name="connsiteY14" fmla="*/ 630892 h 789521"/>
                  <a:gd name="connsiteX15" fmla="*/ 234570 w 789422"/>
                  <a:gd name="connsiteY15" fmla="*/ 603951 h 789521"/>
                  <a:gd name="connsiteX16" fmla="*/ 307055 w 789422"/>
                  <a:gd name="connsiteY16" fmla="*/ 531657 h 789521"/>
                  <a:gd name="connsiteX17" fmla="*/ 281814 w 789422"/>
                  <a:gd name="connsiteY17" fmla="*/ 507939 h 789521"/>
                  <a:gd name="connsiteX18" fmla="*/ 258002 w 789422"/>
                  <a:gd name="connsiteY18" fmla="*/ 482603 h 789521"/>
                  <a:gd name="connsiteX19" fmla="*/ 574517 w 789422"/>
                  <a:gd name="connsiteY19" fmla="*/ 0 h 789521"/>
                  <a:gd name="connsiteX20" fmla="*/ 726536 w 789422"/>
                  <a:gd name="connsiteY20" fmla="*/ 62931 h 789521"/>
                  <a:gd name="connsiteX21" fmla="*/ 789422 w 789422"/>
                  <a:gd name="connsiteY21" fmla="*/ 214903 h 789521"/>
                  <a:gd name="connsiteX22" fmla="*/ 776127 w 789422"/>
                  <a:gd name="connsiteY22" fmla="*/ 283283 h 789521"/>
                  <a:gd name="connsiteX23" fmla="*/ 765204 w 789422"/>
                  <a:gd name="connsiteY23" fmla="*/ 275919 h 789521"/>
                  <a:gd name="connsiteX24" fmla="*/ 684718 w 789422"/>
                  <a:gd name="connsiteY24" fmla="*/ 259669 h 789521"/>
                  <a:gd name="connsiteX25" fmla="*/ 477944 w 789422"/>
                  <a:gd name="connsiteY25" fmla="*/ 466443 h 789521"/>
                  <a:gd name="connsiteX26" fmla="*/ 478409 w 789422"/>
                  <a:gd name="connsiteY26" fmla="*/ 471049 h 789521"/>
                  <a:gd name="connsiteX27" fmla="*/ 428120 w 789422"/>
                  <a:gd name="connsiteY27" fmla="*/ 502420 h 789521"/>
                  <a:gd name="connsiteX28" fmla="*/ 339917 w 789422"/>
                  <a:gd name="connsiteY28" fmla="*/ 552421 h 789521"/>
                  <a:gd name="connsiteX29" fmla="*/ 278195 w 789422"/>
                  <a:gd name="connsiteY29" fmla="*/ 613857 h 789521"/>
                  <a:gd name="connsiteX30" fmla="*/ 284005 w 789422"/>
                  <a:gd name="connsiteY30" fmla="*/ 619096 h 789521"/>
                  <a:gd name="connsiteX31" fmla="*/ 313531 w 789422"/>
                  <a:gd name="connsiteY31" fmla="*/ 690199 h 789521"/>
                  <a:gd name="connsiteX32" fmla="*/ 213591 w 789422"/>
                  <a:gd name="connsiteY32" fmla="*/ 789521 h 789521"/>
                  <a:gd name="connsiteX33" fmla="*/ 114269 w 789422"/>
                  <a:gd name="connsiteY33" fmla="*/ 689581 h 789521"/>
                  <a:gd name="connsiteX34" fmla="*/ 115412 w 789422"/>
                  <a:gd name="connsiteY34" fmla="*/ 674055 h 789521"/>
                  <a:gd name="connsiteX35" fmla="*/ 99887 w 789422"/>
                  <a:gd name="connsiteY35" fmla="*/ 675198 h 789521"/>
                  <a:gd name="connsiteX36" fmla="*/ 29082 w 789422"/>
                  <a:gd name="connsiteY36" fmla="*/ 645861 h 789521"/>
                  <a:gd name="connsiteX37" fmla="*/ 29337 w 789422"/>
                  <a:gd name="connsiteY37" fmla="*/ 504826 h 789521"/>
                  <a:gd name="connsiteX38" fmla="*/ 170372 w 789422"/>
                  <a:gd name="connsiteY38" fmla="*/ 505082 h 789521"/>
                  <a:gd name="connsiteX39" fmla="*/ 175706 w 789422"/>
                  <a:gd name="connsiteY39" fmla="*/ 510892 h 789521"/>
                  <a:gd name="connsiteX40" fmla="*/ 237332 w 789422"/>
                  <a:gd name="connsiteY40" fmla="*/ 449170 h 789521"/>
                  <a:gd name="connsiteX41" fmla="*/ 323057 w 789422"/>
                  <a:gd name="connsiteY41" fmla="*/ 306295 h 789521"/>
                  <a:gd name="connsiteX42" fmla="*/ 422498 w 789422"/>
                  <a:gd name="connsiteY42" fmla="*/ 62931 h 789521"/>
                  <a:gd name="connsiteX43" fmla="*/ 574517 w 789422"/>
                  <a:gd name="connsiteY43" fmla="*/ 0 h 789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789422" h="789521">
                    <a:moveTo>
                      <a:pt x="258002" y="482603"/>
                    </a:moveTo>
                    <a:lnTo>
                      <a:pt x="185612" y="554993"/>
                    </a:lnTo>
                    <a:cubicBezTo>
                      <a:pt x="184040" y="556576"/>
                      <a:pt x="182202" y="557870"/>
                      <a:pt x="180182" y="558818"/>
                    </a:cubicBezTo>
                    <a:cubicBezTo>
                      <a:pt x="170656" y="563285"/>
                      <a:pt x="159313" y="559185"/>
                      <a:pt x="154846" y="549659"/>
                    </a:cubicBezTo>
                    <a:cubicBezTo>
                      <a:pt x="151969" y="543276"/>
                      <a:pt x="148005" y="537443"/>
                      <a:pt x="143130" y="532419"/>
                    </a:cubicBezTo>
                    <a:cubicBezTo>
                      <a:pt x="119053" y="508467"/>
                      <a:pt x="80149" y="508467"/>
                      <a:pt x="56072" y="532419"/>
                    </a:cubicBezTo>
                    <a:cubicBezTo>
                      <a:pt x="35861" y="555637"/>
                      <a:pt x="35918" y="590217"/>
                      <a:pt x="56205" y="613370"/>
                    </a:cubicBezTo>
                    <a:cubicBezTo>
                      <a:pt x="78601" y="638928"/>
                      <a:pt x="117476" y="641492"/>
                      <a:pt x="143035" y="619096"/>
                    </a:cubicBezTo>
                    <a:cubicBezTo>
                      <a:pt x="150583" y="611652"/>
                      <a:pt x="162737" y="611738"/>
                      <a:pt x="170181" y="619286"/>
                    </a:cubicBezTo>
                    <a:cubicBezTo>
                      <a:pt x="177625" y="626835"/>
                      <a:pt x="177539" y="638989"/>
                      <a:pt x="169991" y="646433"/>
                    </a:cubicBezTo>
                    <a:cubicBezTo>
                      <a:pt x="145988" y="670458"/>
                      <a:pt x="145988" y="709386"/>
                      <a:pt x="169991" y="733411"/>
                    </a:cubicBezTo>
                    <a:cubicBezTo>
                      <a:pt x="194009" y="757452"/>
                      <a:pt x="232969" y="757469"/>
                      <a:pt x="257009" y="733451"/>
                    </a:cubicBezTo>
                    <a:cubicBezTo>
                      <a:pt x="281050" y="709433"/>
                      <a:pt x="281067" y="670473"/>
                      <a:pt x="257049" y="646433"/>
                    </a:cubicBezTo>
                    <a:cubicBezTo>
                      <a:pt x="252014" y="641546"/>
                      <a:pt x="246184" y="637552"/>
                      <a:pt x="239809" y="634622"/>
                    </a:cubicBezTo>
                    <a:cubicBezTo>
                      <a:pt x="237854" y="633687"/>
                      <a:pt x="236073" y="632425"/>
                      <a:pt x="234542" y="630892"/>
                    </a:cubicBezTo>
                    <a:cubicBezTo>
                      <a:pt x="227111" y="623445"/>
                      <a:pt x="227123" y="611384"/>
                      <a:pt x="234570" y="603951"/>
                    </a:cubicBezTo>
                    <a:lnTo>
                      <a:pt x="307055" y="531657"/>
                    </a:lnTo>
                    <a:cubicBezTo>
                      <a:pt x="299626" y="525275"/>
                      <a:pt x="291434" y="517464"/>
                      <a:pt x="281814" y="507939"/>
                    </a:cubicBezTo>
                    <a:cubicBezTo>
                      <a:pt x="272194" y="498414"/>
                      <a:pt x="264383" y="490032"/>
                      <a:pt x="258002" y="482603"/>
                    </a:cubicBezTo>
                    <a:close/>
                    <a:moveTo>
                      <a:pt x="574517" y="0"/>
                    </a:moveTo>
                    <a:cubicBezTo>
                      <a:pt x="629532" y="0"/>
                      <a:pt x="684547" y="20977"/>
                      <a:pt x="726536" y="62931"/>
                    </a:cubicBezTo>
                    <a:cubicBezTo>
                      <a:pt x="768460" y="104915"/>
                      <a:pt x="789421" y="159909"/>
                      <a:pt x="789422" y="214903"/>
                    </a:cubicBezTo>
                    <a:lnTo>
                      <a:pt x="776127" y="283283"/>
                    </a:lnTo>
                    <a:lnTo>
                      <a:pt x="765204" y="275919"/>
                    </a:lnTo>
                    <a:cubicBezTo>
                      <a:pt x="740466" y="265455"/>
                      <a:pt x="713268" y="259669"/>
                      <a:pt x="684718" y="259669"/>
                    </a:cubicBezTo>
                    <a:cubicBezTo>
                      <a:pt x="570520" y="259669"/>
                      <a:pt x="477944" y="352245"/>
                      <a:pt x="477944" y="466443"/>
                    </a:cubicBezTo>
                    <a:lnTo>
                      <a:pt x="478409" y="471049"/>
                    </a:lnTo>
                    <a:lnTo>
                      <a:pt x="428120" y="502420"/>
                    </a:lnTo>
                    <a:cubicBezTo>
                      <a:pt x="383208" y="535776"/>
                      <a:pt x="367563" y="561137"/>
                      <a:pt x="339917" y="552421"/>
                    </a:cubicBezTo>
                    <a:lnTo>
                      <a:pt x="278195" y="613857"/>
                    </a:lnTo>
                    <a:cubicBezTo>
                      <a:pt x="280195" y="615477"/>
                      <a:pt x="282100" y="617286"/>
                      <a:pt x="284005" y="619096"/>
                    </a:cubicBezTo>
                    <a:cubicBezTo>
                      <a:pt x="302977" y="637883"/>
                      <a:pt x="313614" y="663499"/>
                      <a:pt x="313531" y="690199"/>
                    </a:cubicBezTo>
                    <a:cubicBezTo>
                      <a:pt x="313361" y="745224"/>
                      <a:pt x="268616" y="789692"/>
                      <a:pt x="213591" y="789521"/>
                    </a:cubicBezTo>
                    <a:cubicBezTo>
                      <a:pt x="158566" y="789351"/>
                      <a:pt x="114099" y="744606"/>
                      <a:pt x="114269" y="689581"/>
                    </a:cubicBezTo>
                    <a:cubicBezTo>
                      <a:pt x="114265" y="684384"/>
                      <a:pt x="114647" y="679195"/>
                      <a:pt x="115412" y="674055"/>
                    </a:cubicBezTo>
                    <a:cubicBezTo>
                      <a:pt x="110273" y="674821"/>
                      <a:pt x="105083" y="675203"/>
                      <a:pt x="99887" y="675198"/>
                    </a:cubicBezTo>
                    <a:cubicBezTo>
                      <a:pt x="73319" y="675241"/>
                      <a:pt x="47833" y="664681"/>
                      <a:pt x="29082" y="645861"/>
                    </a:cubicBezTo>
                    <a:cubicBezTo>
                      <a:pt x="-9793" y="606846"/>
                      <a:pt x="-9679" y="543702"/>
                      <a:pt x="29337" y="504826"/>
                    </a:cubicBezTo>
                    <a:cubicBezTo>
                      <a:pt x="68353" y="465951"/>
                      <a:pt x="131496" y="466065"/>
                      <a:pt x="170372" y="505082"/>
                    </a:cubicBezTo>
                    <a:cubicBezTo>
                      <a:pt x="172181" y="506892"/>
                      <a:pt x="173991" y="508892"/>
                      <a:pt x="175706" y="510892"/>
                    </a:cubicBezTo>
                    <a:lnTo>
                      <a:pt x="237332" y="449170"/>
                    </a:lnTo>
                    <a:cubicBezTo>
                      <a:pt x="225426" y="413165"/>
                      <a:pt x="273146" y="397068"/>
                      <a:pt x="323057" y="306295"/>
                    </a:cubicBezTo>
                    <a:cubicBezTo>
                      <a:pt x="352299" y="253431"/>
                      <a:pt x="372397" y="113033"/>
                      <a:pt x="422498" y="62931"/>
                    </a:cubicBezTo>
                    <a:cubicBezTo>
                      <a:pt x="464487" y="20977"/>
                      <a:pt x="519502" y="0"/>
                      <a:pt x="574517" y="0"/>
                    </a:cubicBezTo>
                    <a:close/>
                  </a:path>
                </a:pathLst>
              </a:custGeom>
              <a:solidFill>
                <a:srgbClr val="45AC3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" name="Graphic 78" descr="Dead Fish Skeleton with solid fill">
                <a:extLst>
                  <a:ext uri="{FF2B5EF4-FFF2-40B4-BE49-F238E27FC236}">
                    <a16:creationId xmlns:a16="http://schemas.microsoft.com/office/drawing/2014/main" id="{069B0FA7-7A60-4FF9-B7B5-A1423E1AAC1E}"/>
                  </a:ext>
                </a:extLst>
              </p:cNvPr>
              <p:cNvSpPr/>
              <p:nvPr/>
            </p:nvSpPr>
            <p:spPr>
              <a:xfrm rot="17100000">
                <a:off x="4659869" y="4674117"/>
                <a:ext cx="320487" cy="118132"/>
              </a:xfrm>
              <a:custGeom>
                <a:avLst/>
                <a:gdLst>
                  <a:gd name="connsiteX0" fmla="*/ 236629 w 320487"/>
                  <a:gd name="connsiteY0" fmla="*/ 12397 h 118132"/>
                  <a:gd name="connsiteX1" fmla="*/ 236629 w 320487"/>
                  <a:gd name="connsiteY1" fmla="*/ 51774 h 118132"/>
                  <a:gd name="connsiteX2" fmla="*/ 228607 w 320487"/>
                  <a:gd name="connsiteY2" fmla="*/ 51774 h 118132"/>
                  <a:gd name="connsiteX3" fmla="*/ 177198 w 320487"/>
                  <a:gd name="connsiteY3" fmla="*/ 0 h 118132"/>
                  <a:gd name="connsiteX4" fmla="*/ 160062 w 320487"/>
                  <a:gd name="connsiteY4" fmla="*/ 3646 h 118132"/>
                  <a:gd name="connsiteX5" fmla="*/ 208190 w 320487"/>
                  <a:gd name="connsiteY5" fmla="*/ 51774 h 118132"/>
                  <a:gd name="connsiteX6" fmla="*/ 188866 w 320487"/>
                  <a:gd name="connsiteY6" fmla="*/ 51774 h 118132"/>
                  <a:gd name="connsiteX7" fmla="*/ 144019 w 320487"/>
                  <a:gd name="connsiteY7" fmla="*/ 7292 h 118132"/>
                  <a:gd name="connsiteX8" fmla="*/ 127247 w 320487"/>
                  <a:gd name="connsiteY8" fmla="*/ 10938 h 118132"/>
                  <a:gd name="connsiteX9" fmla="*/ 168083 w 320487"/>
                  <a:gd name="connsiteY9" fmla="*/ 51774 h 118132"/>
                  <a:gd name="connsiteX10" fmla="*/ 148759 w 320487"/>
                  <a:gd name="connsiteY10" fmla="*/ 51774 h 118132"/>
                  <a:gd name="connsiteX11" fmla="*/ 111205 w 320487"/>
                  <a:gd name="connsiteY11" fmla="*/ 14220 h 118132"/>
                  <a:gd name="connsiteX12" fmla="*/ 94433 w 320487"/>
                  <a:gd name="connsiteY12" fmla="*/ 17866 h 118132"/>
                  <a:gd name="connsiteX13" fmla="*/ 127976 w 320487"/>
                  <a:gd name="connsiteY13" fmla="*/ 51409 h 118132"/>
                  <a:gd name="connsiteX14" fmla="*/ 108652 w 320487"/>
                  <a:gd name="connsiteY14" fmla="*/ 51409 h 118132"/>
                  <a:gd name="connsiteX15" fmla="*/ 78390 w 320487"/>
                  <a:gd name="connsiteY15" fmla="*/ 21147 h 118132"/>
                  <a:gd name="connsiteX16" fmla="*/ 61618 w 320487"/>
                  <a:gd name="connsiteY16" fmla="*/ 24793 h 118132"/>
                  <a:gd name="connsiteX17" fmla="*/ 88234 w 320487"/>
                  <a:gd name="connsiteY17" fmla="*/ 51409 h 118132"/>
                  <a:gd name="connsiteX18" fmla="*/ 51774 w 320487"/>
                  <a:gd name="connsiteY18" fmla="*/ 51409 h 118132"/>
                  <a:gd name="connsiteX19" fmla="*/ 50680 w 320487"/>
                  <a:gd name="connsiteY19" fmla="*/ 51409 h 118132"/>
                  <a:gd name="connsiteX20" fmla="*/ 0 w 320487"/>
                  <a:gd name="connsiteY20" fmla="*/ 15678 h 118132"/>
                  <a:gd name="connsiteX21" fmla="*/ 10574 w 320487"/>
                  <a:gd name="connsiteY21" fmla="*/ 59066 h 118132"/>
                  <a:gd name="connsiteX22" fmla="*/ 0 w 320487"/>
                  <a:gd name="connsiteY22" fmla="*/ 102454 h 118132"/>
                  <a:gd name="connsiteX23" fmla="*/ 50680 w 320487"/>
                  <a:gd name="connsiteY23" fmla="*/ 66723 h 118132"/>
                  <a:gd name="connsiteX24" fmla="*/ 51045 w 320487"/>
                  <a:gd name="connsiteY24" fmla="*/ 66358 h 118132"/>
                  <a:gd name="connsiteX25" fmla="*/ 87505 w 320487"/>
                  <a:gd name="connsiteY25" fmla="*/ 66358 h 118132"/>
                  <a:gd name="connsiteX26" fmla="*/ 60889 w 320487"/>
                  <a:gd name="connsiteY26" fmla="*/ 92974 h 118132"/>
                  <a:gd name="connsiteX27" fmla="*/ 77661 w 320487"/>
                  <a:gd name="connsiteY27" fmla="*/ 96620 h 118132"/>
                  <a:gd name="connsiteX28" fmla="*/ 107923 w 320487"/>
                  <a:gd name="connsiteY28" fmla="*/ 66358 h 118132"/>
                  <a:gd name="connsiteX29" fmla="*/ 127247 w 320487"/>
                  <a:gd name="connsiteY29" fmla="*/ 66358 h 118132"/>
                  <a:gd name="connsiteX30" fmla="*/ 93704 w 320487"/>
                  <a:gd name="connsiteY30" fmla="*/ 99902 h 118132"/>
                  <a:gd name="connsiteX31" fmla="*/ 110475 w 320487"/>
                  <a:gd name="connsiteY31" fmla="*/ 103548 h 118132"/>
                  <a:gd name="connsiteX32" fmla="*/ 148394 w 320487"/>
                  <a:gd name="connsiteY32" fmla="*/ 66358 h 118132"/>
                  <a:gd name="connsiteX33" fmla="*/ 167718 w 320487"/>
                  <a:gd name="connsiteY33" fmla="*/ 66358 h 118132"/>
                  <a:gd name="connsiteX34" fmla="*/ 127247 w 320487"/>
                  <a:gd name="connsiteY34" fmla="*/ 107194 h 118132"/>
                  <a:gd name="connsiteX35" fmla="*/ 144019 w 320487"/>
                  <a:gd name="connsiteY35" fmla="*/ 110840 h 118132"/>
                  <a:gd name="connsiteX36" fmla="*/ 188501 w 320487"/>
                  <a:gd name="connsiteY36" fmla="*/ 66358 h 118132"/>
                  <a:gd name="connsiteX37" fmla="*/ 207825 w 320487"/>
                  <a:gd name="connsiteY37" fmla="*/ 66358 h 118132"/>
                  <a:gd name="connsiteX38" fmla="*/ 160062 w 320487"/>
                  <a:gd name="connsiteY38" fmla="*/ 114486 h 118132"/>
                  <a:gd name="connsiteX39" fmla="*/ 176834 w 320487"/>
                  <a:gd name="connsiteY39" fmla="*/ 118132 h 118132"/>
                  <a:gd name="connsiteX40" fmla="*/ 228607 w 320487"/>
                  <a:gd name="connsiteY40" fmla="*/ 66358 h 118132"/>
                  <a:gd name="connsiteX41" fmla="*/ 236629 w 320487"/>
                  <a:gd name="connsiteY41" fmla="*/ 66358 h 118132"/>
                  <a:gd name="connsiteX42" fmla="*/ 236629 w 320487"/>
                  <a:gd name="connsiteY42" fmla="*/ 105736 h 118132"/>
                  <a:gd name="connsiteX43" fmla="*/ 320488 w 320487"/>
                  <a:gd name="connsiteY43" fmla="*/ 59066 h 118132"/>
                  <a:gd name="connsiteX44" fmla="*/ 236629 w 320487"/>
                  <a:gd name="connsiteY44" fmla="*/ 12397 h 118132"/>
                  <a:gd name="connsiteX45" fmla="*/ 265797 w 320487"/>
                  <a:gd name="connsiteY45" fmla="*/ 51774 h 118132"/>
                  <a:gd name="connsiteX46" fmla="*/ 258505 w 320487"/>
                  <a:gd name="connsiteY46" fmla="*/ 44482 h 118132"/>
                  <a:gd name="connsiteX47" fmla="*/ 265797 w 320487"/>
                  <a:gd name="connsiteY47" fmla="*/ 37190 h 118132"/>
                  <a:gd name="connsiteX48" fmla="*/ 273089 w 320487"/>
                  <a:gd name="connsiteY48" fmla="*/ 44482 h 118132"/>
                  <a:gd name="connsiteX49" fmla="*/ 265797 w 320487"/>
                  <a:gd name="connsiteY49" fmla="*/ 51774 h 118132"/>
                  <a:gd name="connsiteX50" fmla="*/ 265797 w 320487"/>
                  <a:gd name="connsiteY50" fmla="*/ 51774 h 118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0487" h="118132">
                    <a:moveTo>
                      <a:pt x="236629" y="12397"/>
                    </a:moveTo>
                    <a:lnTo>
                      <a:pt x="236629" y="51774"/>
                    </a:lnTo>
                    <a:lnTo>
                      <a:pt x="228607" y="51774"/>
                    </a:lnTo>
                    <a:lnTo>
                      <a:pt x="177198" y="0"/>
                    </a:lnTo>
                    <a:lnTo>
                      <a:pt x="160062" y="3646"/>
                    </a:lnTo>
                    <a:lnTo>
                      <a:pt x="208190" y="51774"/>
                    </a:lnTo>
                    <a:lnTo>
                      <a:pt x="188866" y="51774"/>
                    </a:lnTo>
                    <a:lnTo>
                      <a:pt x="144019" y="7292"/>
                    </a:lnTo>
                    <a:lnTo>
                      <a:pt x="127247" y="10938"/>
                    </a:lnTo>
                    <a:lnTo>
                      <a:pt x="168083" y="51774"/>
                    </a:lnTo>
                    <a:lnTo>
                      <a:pt x="148759" y="51774"/>
                    </a:lnTo>
                    <a:lnTo>
                      <a:pt x="111205" y="14220"/>
                    </a:lnTo>
                    <a:lnTo>
                      <a:pt x="94433" y="17866"/>
                    </a:lnTo>
                    <a:lnTo>
                      <a:pt x="127976" y="51409"/>
                    </a:lnTo>
                    <a:lnTo>
                      <a:pt x="108652" y="51409"/>
                    </a:lnTo>
                    <a:lnTo>
                      <a:pt x="78390" y="21147"/>
                    </a:lnTo>
                    <a:lnTo>
                      <a:pt x="61618" y="24793"/>
                    </a:lnTo>
                    <a:lnTo>
                      <a:pt x="88234" y="51409"/>
                    </a:lnTo>
                    <a:lnTo>
                      <a:pt x="51774" y="51409"/>
                    </a:lnTo>
                    <a:lnTo>
                      <a:pt x="50680" y="51409"/>
                    </a:lnTo>
                    <a:lnTo>
                      <a:pt x="0" y="15678"/>
                    </a:lnTo>
                    <a:cubicBezTo>
                      <a:pt x="2188" y="30262"/>
                      <a:pt x="5469" y="44846"/>
                      <a:pt x="10574" y="59066"/>
                    </a:cubicBezTo>
                    <a:cubicBezTo>
                      <a:pt x="5834" y="73286"/>
                      <a:pt x="2188" y="87505"/>
                      <a:pt x="0" y="102454"/>
                    </a:cubicBezTo>
                    <a:lnTo>
                      <a:pt x="50680" y="66723"/>
                    </a:lnTo>
                    <a:lnTo>
                      <a:pt x="51045" y="66358"/>
                    </a:lnTo>
                    <a:lnTo>
                      <a:pt x="87505" y="66358"/>
                    </a:lnTo>
                    <a:lnTo>
                      <a:pt x="60889" y="92974"/>
                    </a:lnTo>
                    <a:lnTo>
                      <a:pt x="77661" y="96620"/>
                    </a:lnTo>
                    <a:lnTo>
                      <a:pt x="107923" y="66358"/>
                    </a:lnTo>
                    <a:lnTo>
                      <a:pt x="127247" y="66358"/>
                    </a:lnTo>
                    <a:lnTo>
                      <a:pt x="93704" y="99902"/>
                    </a:lnTo>
                    <a:lnTo>
                      <a:pt x="110475" y="103548"/>
                    </a:lnTo>
                    <a:lnTo>
                      <a:pt x="148394" y="66358"/>
                    </a:lnTo>
                    <a:lnTo>
                      <a:pt x="167718" y="66358"/>
                    </a:lnTo>
                    <a:lnTo>
                      <a:pt x="127247" y="107194"/>
                    </a:lnTo>
                    <a:lnTo>
                      <a:pt x="144019" y="110840"/>
                    </a:lnTo>
                    <a:lnTo>
                      <a:pt x="188501" y="66358"/>
                    </a:lnTo>
                    <a:lnTo>
                      <a:pt x="207825" y="66358"/>
                    </a:lnTo>
                    <a:lnTo>
                      <a:pt x="160062" y="114486"/>
                    </a:lnTo>
                    <a:lnTo>
                      <a:pt x="176834" y="118132"/>
                    </a:lnTo>
                    <a:lnTo>
                      <a:pt x="228607" y="66358"/>
                    </a:lnTo>
                    <a:lnTo>
                      <a:pt x="236629" y="66358"/>
                    </a:lnTo>
                    <a:lnTo>
                      <a:pt x="236629" y="105736"/>
                    </a:lnTo>
                    <a:cubicBezTo>
                      <a:pt x="277465" y="95891"/>
                      <a:pt x="320488" y="71827"/>
                      <a:pt x="320488" y="59066"/>
                    </a:cubicBezTo>
                    <a:cubicBezTo>
                      <a:pt x="320488" y="46305"/>
                      <a:pt x="277465" y="22241"/>
                      <a:pt x="236629" y="12397"/>
                    </a:cubicBezTo>
                    <a:close/>
                    <a:moveTo>
                      <a:pt x="265797" y="51774"/>
                    </a:moveTo>
                    <a:cubicBezTo>
                      <a:pt x="261787" y="51774"/>
                      <a:pt x="258505" y="48492"/>
                      <a:pt x="258505" y="44482"/>
                    </a:cubicBezTo>
                    <a:cubicBezTo>
                      <a:pt x="258505" y="40471"/>
                      <a:pt x="261787" y="37190"/>
                      <a:pt x="265797" y="37190"/>
                    </a:cubicBezTo>
                    <a:cubicBezTo>
                      <a:pt x="269808" y="37190"/>
                      <a:pt x="273089" y="40471"/>
                      <a:pt x="273089" y="44482"/>
                    </a:cubicBezTo>
                    <a:cubicBezTo>
                      <a:pt x="273089" y="48492"/>
                      <a:pt x="269808" y="51774"/>
                      <a:pt x="265797" y="51774"/>
                    </a:cubicBezTo>
                    <a:lnTo>
                      <a:pt x="265797" y="51774"/>
                    </a:lnTo>
                    <a:close/>
                  </a:path>
                </a:pathLst>
              </a:custGeom>
              <a:solidFill>
                <a:srgbClr val="45AC34"/>
              </a:solidFill>
              <a:ln w="3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" name="Oval 324">
                <a:extLst>
                  <a:ext uri="{FF2B5EF4-FFF2-40B4-BE49-F238E27FC236}">
                    <a16:creationId xmlns:a16="http://schemas.microsoft.com/office/drawing/2014/main" id="{B47E7D72-BC17-471F-B2C6-A6A4B5B2F12E}"/>
                  </a:ext>
                </a:extLst>
              </p:cNvPr>
              <p:cNvSpPr/>
              <p:nvPr/>
            </p:nvSpPr>
            <p:spPr>
              <a:xfrm>
                <a:off x="4615977" y="4648552"/>
                <a:ext cx="45719" cy="64008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26" name="Flowchart: Manual Operation 325">
                <a:extLst>
                  <a:ext uri="{FF2B5EF4-FFF2-40B4-BE49-F238E27FC236}">
                    <a16:creationId xmlns:a16="http://schemas.microsoft.com/office/drawing/2014/main" id="{6659AD48-E98A-426F-9E5D-8CBBF6D8968F}"/>
                  </a:ext>
                </a:extLst>
              </p:cNvPr>
              <p:cNvSpPr/>
              <p:nvPr/>
            </p:nvSpPr>
            <p:spPr>
              <a:xfrm>
                <a:off x="4574675" y="4719962"/>
                <a:ext cx="442422" cy="365085"/>
              </a:xfrm>
              <a:prstGeom prst="flowChartManualOperation">
                <a:avLst/>
              </a:prstGeom>
              <a:solidFill>
                <a:srgbClr val="45AC3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27" name="Graphic 326" descr="Recycle with solid fill">
                <a:extLst>
                  <a:ext uri="{FF2B5EF4-FFF2-40B4-BE49-F238E27FC236}">
                    <a16:creationId xmlns:a16="http://schemas.microsoft.com/office/drawing/2014/main" id="{F2EDAA63-6145-45F6-8F12-ED67678154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4694392" y="4803697"/>
                <a:ext cx="211270" cy="211270"/>
              </a:xfrm>
              <a:prstGeom prst="rect">
                <a:avLst/>
              </a:prstGeom>
            </p:spPr>
          </p:pic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7B5512DD-DEAD-4795-AAEA-F3F3BCF76F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35347" y="4744087"/>
                <a:ext cx="548640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8" name="Rectangle: Rounded Corners 297">
              <a:extLst>
                <a:ext uri="{FF2B5EF4-FFF2-40B4-BE49-F238E27FC236}">
                  <a16:creationId xmlns:a16="http://schemas.microsoft.com/office/drawing/2014/main" id="{AB7CF492-85F6-476D-A51C-F45F2695A822}"/>
                </a:ext>
              </a:extLst>
            </p:cNvPr>
            <p:cNvSpPr/>
            <p:nvPr/>
          </p:nvSpPr>
          <p:spPr>
            <a:xfrm>
              <a:off x="4439636" y="1616043"/>
              <a:ext cx="675288" cy="1084056"/>
            </a:xfrm>
            <a:prstGeom prst="roundRect">
              <a:avLst/>
            </a:prstGeom>
            <a:noFill/>
            <a:ln w="19050">
              <a:solidFill>
                <a:srgbClr val="45AC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14C2764C-A549-4AF9-B3B3-7E34183E4E69}"/>
                </a:ext>
              </a:extLst>
            </p:cNvPr>
            <p:cNvSpPr/>
            <p:nvPr/>
          </p:nvSpPr>
          <p:spPr>
            <a:xfrm>
              <a:off x="4764960" y="2356188"/>
              <a:ext cx="331911" cy="328780"/>
            </a:xfrm>
            <a:custGeom>
              <a:avLst/>
              <a:gdLst>
                <a:gd name="connsiteX0" fmla="*/ 302895 w 302895"/>
                <a:gd name="connsiteY0" fmla="*/ 260985 h 325755"/>
                <a:gd name="connsiteX1" fmla="*/ 302895 w 302895"/>
                <a:gd name="connsiteY1" fmla="*/ 45720 h 325755"/>
                <a:gd name="connsiteX2" fmla="*/ 259080 w 302895"/>
                <a:gd name="connsiteY2" fmla="*/ 45720 h 325755"/>
                <a:gd name="connsiteX3" fmla="*/ 259080 w 302895"/>
                <a:gd name="connsiteY3" fmla="*/ 0 h 325755"/>
                <a:gd name="connsiteX4" fmla="*/ 226695 w 302895"/>
                <a:gd name="connsiteY4" fmla="*/ 0 h 325755"/>
                <a:gd name="connsiteX5" fmla="*/ 192405 w 302895"/>
                <a:gd name="connsiteY5" fmla="*/ 34290 h 325755"/>
                <a:gd name="connsiteX6" fmla="*/ 118110 w 302895"/>
                <a:gd name="connsiteY6" fmla="*/ 34290 h 325755"/>
                <a:gd name="connsiteX7" fmla="*/ 0 w 302895"/>
                <a:gd name="connsiteY7" fmla="*/ 152400 h 325755"/>
                <a:gd name="connsiteX8" fmla="*/ 0 w 302895"/>
                <a:gd name="connsiteY8" fmla="*/ 220980 h 325755"/>
                <a:gd name="connsiteX9" fmla="*/ 0 w 302895"/>
                <a:gd name="connsiteY9" fmla="*/ 260985 h 325755"/>
                <a:gd name="connsiteX10" fmla="*/ 32385 w 302895"/>
                <a:gd name="connsiteY10" fmla="*/ 260985 h 325755"/>
                <a:gd name="connsiteX11" fmla="*/ 41910 w 302895"/>
                <a:gd name="connsiteY11" fmla="*/ 270510 h 325755"/>
                <a:gd name="connsiteX12" fmla="*/ 91440 w 302895"/>
                <a:gd name="connsiteY12" fmla="*/ 270510 h 325755"/>
                <a:gd name="connsiteX13" fmla="*/ 110490 w 302895"/>
                <a:gd name="connsiteY13" fmla="*/ 270510 h 325755"/>
                <a:gd name="connsiteX14" fmla="*/ 186690 w 302895"/>
                <a:gd name="connsiteY14" fmla="*/ 270510 h 325755"/>
                <a:gd name="connsiteX15" fmla="*/ 241935 w 302895"/>
                <a:gd name="connsiteY15" fmla="*/ 325755 h 325755"/>
                <a:gd name="connsiteX16" fmla="*/ 302895 w 302895"/>
                <a:gd name="connsiteY16" fmla="*/ 260985 h 325755"/>
                <a:gd name="connsiteX0" fmla="*/ 302895 w 302895"/>
                <a:gd name="connsiteY0" fmla="*/ 260985 h 325755"/>
                <a:gd name="connsiteX1" fmla="*/ 302895 w 302895"/>
                <a:gd name="connsiteY1" fmla="*/ 45720 h 325755"/>
                <a:gd name="connsiteX2" fmla="*/ 259080 w 302895"/>
                <a:gd name="connsiteY2" fmla="*/ 45720 h 325755"/>
                <a:gd name="connsiteX3" fmla="*/ 259080 w 302895"/>
                <a:gd name="connsiteY3" fmla="*/ 0 h 325755"/>
                <a:gd name="connsiteX4" fmla="*/ 226695 w 302895"/>
                <a:gd name="connsiteY4" fmla="*/ 0 h 325755"/>
                <a:gd name="connsiteX5" fmla="*/ 192405 w 302895"/>
                <a:gd name="connsiteY5" fmla="*/ 34290 h 325755"/>
                <a:gd name="connsiteX6" fmla="*/ 104775 w 302895"/>
                <a:gd name="connsiteY6" fmla="*/ 30480 h 325755"/>
                <a:gd name="connsiteX7" fmla="*/ 0 w 302895"/>
                <a:gd name="connsiteY7" fmla="*/ 152400 h 325755"/>
                <a:gd name="connsiteX8" fmla="*/ 0 w 302895"/>
                <a:gd name="connsiteY8" fmla="*/ 220980 h 325755"/>
                <a:gd name="connsiteX9" fmla="*/ 0 w 302895"/>
                <a:gd name="connsiteY9" fmla="*/ 260985 h 325755"/>
                <a:gd name="connsiteX10" fmla="*/ 32385 w 302895"/>
                <a:gd name="connsiteY10" fmla="*/ 260985 h 325755"/>
                <a:gd name="connsiteX11" fmla="*/ 41910 w 302895"/>
                <a:gd name="connsiteY11" fmla="*/ 270510 h 325755"/>
                <a:gd name="connsiteX12" fmla="*/ 91440 w 302895"/>
                <a:gd name="connsiteY12" fmla="*/ 270510 h 325755"/>
                <a:gd name="connsiteX13" fmla="*/ 110490 w 302895"/>
                <a:gd name="connsiteY13" fmla="*/ 270510 h 325755"/>
                <a:gd name="connsiteX14" fmla="*/ 186690 w 302895"/>
                <a:gd name="connsiteY14" fmla="*/ 270510 h 325755"/>
                <a:gd name="connsiteX15" fmla="*/ 241935 w 302895"/>
                <a:gd name="connsiteY15" fmla="*/ 325755 h 325755"/>
                <a:gd name="connsiteX16" fmla="*/ 302895 w 302895"/>
                <a:gd name="connsiteY16" fmla="*/ 260985 h 325755"/>
                <a:gd name="connsiteX0" fmla="*/ 302895 w 302895"/>
                <a:gd name="connsiteY0" fmla="*/ 266010 h 330780"/>
                <a:gd name="connsiteX1" fmla="*/ 302895 w 302895"/>
                <a:gd name="connsiteY1" fmla="*/ 50745 h 330780"/>
                <a:gd name="connsiteX2" fmla="*/ 259080 w 302895"/>
                <a:gd name="connsiteY2" fmla="*/ 50745 h 330780"/>
                <a:gd name="connsiteX3" fmla="*/ 259080 w 302895"/>
                <a:gd name="connsiteY3" fmla="*/ 5025 h 330780"/>
                <a:gd name="connsiteX4" fmla="*/ 226695 w 302895"/>
                <a:gd name="connsiteY4" fmla="*/ 5025 h 330780"/>
                <a:gd name="connsiteX5" fmla="*/ 192405 w 302895"/>
                <a:gd name="connsiteY5" fmla="*/ 39315 h 330780"/>
                <a:gd name="connsiteX6" fmla="*/ 104775 w 302895"/>
                <a:gd name="connsiteY6" fmla="*/ 35505 h 330780"/>
                <a:gd name="connsiteX7" fmla="*/ 0 w 302895"/>
                <a:gd name="connsiteY7" fmla="*/ 157425 h 330780"/>
                <a:gd name="connsiteX8" fmla="*/ 0 w 302895"/>
                <a:gd name="connsiteY8" fmla="*/ 226005 h 330780"/>
                <a:gd name="connsiteX9" fmla="*/ 0 w 302895"/>
                <a:gd name="connsiteY9" fmla="*/ 266010 h 330780"/>
                <a:gd name="connsiteX10" fmla="*/ 32385 w 302895"/>
                <a:gd name="connsiteY10" fmla="*/ 266010 h 330780"/>
                <a:gd name="connsiteX11" fmla="*/ 41910 w 302895"/>
                <a:gd name="connsiteY11" fmla="*/ 275535 h 330780"/>
                <a:gd name="connsiteX12" fmla="*/ 91440 w 302895"/>
                <a:gd name="connsiteY12" fmla="*/ 275535 h 330780"/>
                <a:gd name="connsiteX13" fmla="*/ 110490 w 302895"/>
                <a:gd name="connsiteY13" fmla="*/ 275535 h 330780"/>
                <a:gd name="connsiteX14" fmla="*/ 186690 w 302895"/>
                <a:gd name="connsiteY14" fmla="*/ 275535 h 330780"/>
                <a:gd name="connsiteX15" fmla="*/ 241935 w 302895"/>
                <a:gd name="connsiteY15" fmla="*/ 330780 h 330780"/>
                <a:gd name="connsiteX16" fmla="*/ 302895 w 302895"/>
                <a:gd name="connsiteY16" fmla="*/ 266010 h 330780"/>
                <a:gd name="connsiteX0" fmla="*/ 302895 w 302895"/>
                <a:gd name="connsiteY0" fmla="*/ 268117 h 332887"/>
                <a:gd name="connsiteX1" fmla="*/ 302895 w 302895"/>
                <a:gd name="connsiteY1" fmla="*/ 52852 h 332887"/>
                <a:gd name="connsiteX2" fmla="*/ 259080 w 302895"/>
                <a:gd name="connsiteY2" fmla="*/ 52852 h 332887"/>
                <a:gd name="connsiteX3" fmla="*/ 259080 w 302895"/>
                <a:gd name="connsiteY3" fmla="*/ 7132 h 332887"/>
                <a:gd name="connsiteX4" fmla="*/ 219075 w 302895"/>
                <a:gd name="connsiteY4" fmla="*/ 3322 h 332887"/>
                <a:gd name="connsiteX5" fmla="*/ 192405 w 302895"/>
                <a:gd name="connsiteY5" fmla="*/ 41422 h 332887"/>
                <a:gd name="connsiteX6" fmla="*/ 104775 w 302895"/>
                <a:gd name="connsiteY6" fmla="*/ 37612 h 332887"/>
                <a:gd name="connsiteX7" fmla="*/ 0 w 302895"/>
                <a:gd name="connsiteY7" fmla="*/ 159532 h 332887"/>
                <a:gd name="connsiteX8" fmla="*/ 0 w 302895"/>
                <a:gd name="connsiteY8" fmla="*/ 228112 h 332887"/>
                <a:gd name="connsiteX9" fmla="*/ 0 w 302895"/>
                <a:gd name="connsiteY9" fmla="*/ 268117 h 332887"/>
                <a:gd name="connsiteX10" fmla="*/ 32385 w 302895"/>
                <a:gd name="connsiteY10" fmla="*/ 268117 h 332887"/>
                <a:gd name="connsiteX11" fmla="*/ 41910 w 302895"/>
                <a:gd name="connsiteY11" fmla="*/ 277642 h 332887"/>
                <a:gd name="connsiteX12" fmla="*/ 91440 w 302895"/>
                <a:gd name="connsiteY12" fmla="*/ 277642 h 332887"/>
                <a:gd name="connsiteX13" fmla="*/ 110490 w 302895"/>
                <a:gd name="connsiteY13" fmla="*/ 277642 h 332887"/>
                <a:gd name="connsiteX14" fmla="*/ 186690 w 302895"/>
                <a:gd name="connsiteY14" fmla="*/ 277642 h 332887"/>
                <a:gd name="connsiteX15" fmla="*/ 241935 w 302895"/>
                <a:gd name="connsiteY15" fmla="*/ 332887 h 332887"/>
                <a:gd name="connsiteX16" fmla="*/ 302895 w 302895"/>
                <a:gd name="connsiteY16" fmla="*/ 268117 h 332887"/>
                <a:gd name="connsiteX0" fmla="*/ 302895 w 302895"/>
                <a:gd name="connsiteY0" fmla="*/ 268117 h 332887"/>
                <a:gd name="connsiteX1" fmla="*/ 302895 w 302895"/>
                <a:gd name="connsiteY1" fmla="*/ 52852 h 332887"/>
                <a:gd name="connsiteX2" fmla="*/ 259080 w 302895"/>
                <a:gd name="connsiteY2" fmla="*/ 52852 h 332887"/>
                <a:gd name="connsiteX3" fmla="*/ 262890 w 302895"/>
                <a:gd name="connsiteY3" fmla="*/ 7132 h 332887"/>
                <a:gd name="connsiteX4" fmla="*/ 219075 w 302895"/>
                <a:gd name="connsiteY4" fmla="*/ 3322 h 332887"/>
                <a:gd name="connsiteX5" fmla="*/ 192405 w 302895"/>
                <a:gd name="connsiteY5" fmla="*/ 41422 h 332887"/>
                <a:gd name="connsiteX6" fmla="*/ 104775 w 302895"/>
                <a:gd name="connsiteY6" fmla="*/ 37612 h 332887"/>
                <a:gd name="connsiteX7" fmla="*/ 0 w 302895"/>
                <a:gd name="connsiteY7" fmla="*/ 159532 h 332887"/>
                <a:gd name="connsiteX8" fmla="*/ 0 w 302895"/>
                <a:gd name="connsiteY8" fmla="*/ 228112 h 332887"/>
                <a:gd name="connsiteX9" fmla="*/ 0 w 302895"/>
                <a:gd name="connsiteY9" fmla="*/ 268117 h 332887"/>
                <a:gd name="connsiteX10" fmla="*/ 32385 w 302895"/>
                <a:gd name="connsiteY10" fmla="*/ 268117 h 332887"/>
                <a:gd name="connsiteX11" fmla="*/ 41910 w 302895"/>
                <a:gd name="connsiteY11" fmla="*/ 277642 h 332887"/>
                <a:gd name="connsiteX12" fmla="*/ 91440 w 302895"/>
                <a:gd name="connsiteY12" fmla="*/ 277642 h 332887"/>
                <a:gd name="connsiteX13" fmla="*/ 110490 w 302895"/>
                <a:gd name="connsiteY13" fmla="*/ 277642 h 332887"/>
                <a:gd name="connsiteX14" fmla="*/ 186690 w 302895"/>
                <a:gd name="connsiteY14" fmla="*/ 277642 h 332887"/>
                <a:gd name="connsiteX15" fmla="*/ 241935 w 302895"/>
                <a:gd name="connsiteY15" fmla="*/ 332887 h 332887"/>
                <a:gd name="connsiteX16" fmla="*/ 302895 w 302895"/>
                <a:gd name="connsiteY16" fmla="*/ 268117 h 332887"/>
                <a:gd name="connsiteX0" fmla="*/ 302895 w 302895"/>
                <a:gd name="connsiteY0" fmla="*/ 268117 h 332887"/>
                <a:gd name="connsiteX1" fmla="*/ 302895 w 302895"/>
                <a:gd name="connsiteY1" fmla="*/ 52852 h 332887"/>
                <a:gd name="connsiteX2" fmla="*/ 259080 w 302895"/>
                <a:gd name="connsiteY2" fmla="*/ 52852 h 332887"/>
                <a:gd name="connsiteX3" fmla="*/ 262890 w 302895"/>
                <a:gd name="connsiteY3" fmla="*/ 7132 h 332887"/>
                <a:gd name="connsiteX4" fmla="*/ 219075 w 302895"/>
                <a:gd name="connsiteY4" fmla="*/ 3322 h 332887"/>
                <a:gd name="connsiteX5" fmla="*/ 192405 w 302895"/>
                <a:gd name="connsiteY5" fmla="*/ 41422 h 332887"/>
                <a:gd name="connsiteX6" fmla="*/ 104775 w 302895"/>
                <a:gd name="connsiteY6" fmla="*/ 37612 h 332887"/>
                <a:gd name="connsiteX7" fmla="*/ 5715 w 302895"/>
                <a:gd name="connsiteY7" fmla="*/ 169057 h 332887"/>
                <a:gd name="connsiteX8" fmla="*/ 0 w 302895"/>
                <a:gd name="connsiteY8" fmla="*/ 228112 h 332887"/>
                <a:gd name="connsiteX9" fmla="*/ 0 w 302895"/>
                <a:gd name="connsiteY9" fmla="*/ 268117 h 332887"/>
                <a:gd name="connsiteX10" fmla="*/ 32385 w 302895"/>
                <a:gd name="connsiteY10" fmla="*/ 268117 h 332887"/>
                <a:gd name="connsiteX11" fmla="*/ 41910 w 302895"/>
                <a:gd name="connsiteY11" fmla="*/ 277642 h 332887"/>
                <a:gd name="connsiteX12" fmla="*/ 91440 w 302895"/>
                <a:gd name="connsiteY12" fmla="*/ 277642 h 332887"/>
                <a:gd name="connsiteX13" fmla="*/ 110490 w 302895"/>
                <a:gd name="connsiteY13" fmla="*/ 277642 h 332887"/>
                <a:gd name="connsiteX14" fmla="*/ 186690 w 302895"/>
                <a:gd name="connsiteY14" fmla="*/ 277642 h 332887"/>
                <a:gd name="connsiteX15" fmla="*/ 241935 w 302895"/>
                <a:gd name="connsiteY15" fmla="*/ 332887 h 332887"/>
                <a:gd name="connsiteX16" fmla="*/ 302895 w 302895"/>
                <a:gd name="connsiteY16" fmla="*/ 268117 h 332887"/>
                <a:gd name="connsiteX0" fmla="*/ 339090 w 339090"/>
                <a:gd name="connsiteY0" fmla="*/ 268117 h 332887"/>
                <a:gd name="connsiteX1" fmla="*/ 339090 w 339090"/>
                <a:gd name="connsiteY1" fmla="*/ 52852 h 332887"/>
                <a:gd name="connsiteX2" fmla="*/ 295275 w 339090"/>
                <a:gd name="connsiteY2" fmla="*/ 52852 h 332887"/>
                <a:gd name="connsiteX3" fmla="*/ 299085 w 339090"/>
                <a:gd name="connsiteY3" fmla="*/ 7132 h 332887"/>
                <a:gd name="connsiteX4" fmla="*/ 255270 w 339090"/>
                <a:gd name="connsiteY4" fmla="*/ 3322 h 332887"/>
                <a:gd name="connsiteX5" fmla="*/ 228600 w 339090"/>
                <a:gd name="connsiteY5" fmla="*/ 41422 h 332887"/>
                <a:gd name="connsiteX6" fmla="*/ 140970 w 339090"/>
                <a:gd name="connsiteY6" fmla="*/ 37612 h 332887"/>
                <a:gd name="connsiteX7" fmla="*/ 41910 w 339090"/>
                <a:gd name="connsiteY7" fmla="*/ 169057 h 332887"/>
                <a:gd name="connsiteX8" fmla="*/ 0 w 339090"/>
                <a:gd name="connsiteY8" fmla="*/ 210967 h 332887"/>
                <a:gd name="connsiteX9" fmla="*/ 36195 w 339090"/>
                <a:gd name="connsiteY9" fmla="*/ 268117 h 332887"/>
                <a:gd name="connsiteX10" fmla="*/ 68580 w 339090"/>
                <a:gd name="connsiteY10" fmla="*/ 268117 h 332887"/>
                <a:gd name="connsiteX11" fmla="*/ 78105 w 339090"/>
                <a:gd name="connsiteY11" fmla="*/ 277642 h 332887"/>
                <a:gd name="connsiteX12" fmla="*/ 127635 w 339090"/>
                <a:gd name="connsiteY12" fmla="*/ 277642 h 332887"/>
                <a:gd name="connsiteX13" fmla="*/ 146685 w 339090"/>
                <a:gd name="connsiteY13" fmla="*/ 277642 h 332887"/>
                <a:gd name="connsiteX14" fmla="*/ 222885 w 339090"/>
                <a:gd name="connsiteY14" fmla="*/ 277642 h 332887"/>
                <a:gd name="connsiteX15" fmla="*/ 278130 w 339090"/>
                <a:gd name="connsiteY15" fmla="*/ 332887 h 332887"/>
                <a:gd name="connsiteX16" fmla="*/ 339090 w 339090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8130 w 339115"/>
                <a:gd name="connsiteY11" fmla="*/ 277642 h 332887"/>
                <a:gd name="connsiteX12" fmla="*/ 127660 w 339115"/>
                <a:gd name="connsiteY12" fmla="*/ 277642 h 332887"/>
                <a:gd name="connsiteX13" fmla="*/ 146710 w 339115"/>
                <a:gd name="connsiteY13" fmla="*/ 277642 h 332887"/>
                <a:gd name="connsiteX14" fmla="*/ 222910 w 339115"/>
                <a:gd name="connsiteY14" fmla="*/ 277642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0423 w 339115"/>
                <a:gd name="connsiteY11" fmla="*/ 282266 h 332887"/>
                <a:gd name="connsiteX12" fmla="*/ 127660 w 339115"/>
                <a:gd name="connsiteY12" fmla="*/ 277642 h 332887"/>
                <a:gd name="connsiteX13" fmla="*/ 146710 w 339115"/>
                <a:gd name="connsiteY13" fmla="*/ 277642 h 332887"/>
                <a:gd name="connsiteX14" fmla="*/ 222910 w 339115"/>
                <a:gd name="connsiteY14" fmla="*/ 277642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0423 w 339115"/>
                <a:gd name="connsiteY11" fmla="*/ 282266 h 332887"/>
                <a:gd name="connsiteX12" fmla="*/ 128893 w 339115"/>
                <a:gd name="connsiteY12" fmla="*/ 282574 h 332887"/>
                <a:gd name="connsiteX13" fmla="*/ 146710 w 339115"/>
                <a:gd name="connsiteY13" fmla="*/ 277642 h 332887"/>
                <a:gd name="connsiteX14" fmla="*/ 222910 w 339115"/>
                <a:gd name="connsiteY14" fmla="*/ 277642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0423 w 339115"/>
                <a:gd name="connsiteY11" fmla="*/ 282266 h 332887"/>
                <a:gd name="connsiteX12" fmla="*/ 128893 w 339115"/>
                <a:gd name="connsiteY12" fmla="*/ 282574 h 332887"/>
                <a:gd name="connsiteX13" fmla="*/ 143011 w 339115"/>
                <a:gd name="connsiteY13" fmla="*/ 268394 h 332887"/>
                <a:gd name="connsiteX14" fmla="*/ 222910 w 339115"/>
                <a:gd name="connsiteY14" fmla="*/ 277642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0423 w 339115"/>
                <a:gd name="connsiteY11" fmla="*/ 282266 h 332887"/>
                <a:gd name="connsiteX12" fmla="*/ 128893 w 339115"/>
                <a:gd name="connsiteY12" fmla="*/ 282574 h 332887"/>
                <a:gd name="connsiteX13" fmla="*/ 143011 w 339115"/>
                <a:gd name="connsiteY13" fmla="*/ 268394 h 332887"/>
                <a:gd name="connsiteX14" fmla="*/ 216436 w 339115"/>
                <a:gd name="connsiteY14" fmla="*/ 268394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5045"/>
                <a:gd name="connsiteX1" fmla="*/ 339115 w 339115"/>
                <a:gd name="connsiteY1" fmla="*/ 52852 h 335045"/>
                <a:gd name="connsiteX2" fmla="*/ 295300 w 339115"/>
                <a:gd name="connsiteY2" fmla="*/ 52852 h 335045"/>
                <a:gd name="connsiteX3" fmla="*/ 299110 w 339115"/>
                <a:gd name="connsiteY3" fmla="*/ 7132 h 335045"/>
                <a:gd name="connsiteX4" fmla="*/ 255295 w 339115"/>
                <a:gd name="connsiteY4" fmla="*/ 3322 h 335045"/>
                <a:gd name="connsiteX5" fmla="*/ 228625 w 339115"/>
                <a:gd name="connsiteY5" fmla="*/ 41422 h 335045"/>
                <a:gd name="connsiteX6" fmla="*/ 140995 w 339115"/>
                <a:gd name="connsiteY6" fmla="*/ 37612 h 335045"/>
                <a:gd name="connsiteX7" fmla="*/ 41935 w 339115"/>
                <a:gd name="connsiteY7" fmla="*/ 169057 h 335045"/>
                <a:gd name="connsiteX8" fmla="*/ 25 w 339115"/>
                <a:gd name="connsiteY8" fmla="*/ 210967 h 335045"/>
                <a:gd name="connsiteX9" fmla="*/ 36220 w 339115"/>
                <a:gd name="connsiteY9" fmla="*/ 268117 h 335045"/>
                <a:gd name="connsiteX10" fmla="*/ 68605 w 339115"/>
                <a:gd name="connsiteY10" fmla="*/ 268117 h 335045"/>
                <a:gd name="connsiteX11" fmla="*/ 70423 w 339115"/>
                <a:gd name="connsiteY11" fmla="*/ 282266 h 335045"/>
                <a:gd name="connsiteX12" fmla="*/ 128893 w 339115"/>
                <a:gd name="connsiteY12" fmla="*/ 282574 h 335045"/>
                <a:gd name="connsiteX13" fmla="*/ 143011 w 339115"/>
                <a:gd name="connsiteY13" fmla="*/ 268394 h 335045"/>
                <a:gd name="connsiteX14" fmla="*/ 216436 w 339115"/>
                <a:gd name="connsiteY14" fmla="*/ 268394 h 335045"/>
                <a:gd name="connsiteX15" fmla="*/ 287095 w 339115"/>
                <a:gd name="connsiteY15" fmla="*/ 335045 h 335045"/>
                <a:gd name="connsiteX16" fmla="*/ 339115 w 339115"/>
                <a:gd name="connsiteY16" fmla="*/ 268117 h 335045"/>
                <a:gd name="connsiteX0" fmla="*/ 335724 w 339115"/>
                <a:gd name="connsiteY0" fmla="*/ 280448 h 335045"/>
                <a:gd name="connsiteX1" fmla="*/ 339115 w 339115"/>
                <a:gd name="connsiteY1" fmla="*/ 52852 h 335045"/>
                <a:gd name="connsiteX2" fmla="*/ 295300 w 339115"/>
                <a:gd name="connsiteY2" fmla="*/ 52852 h 335045"/>
                <a:gd name="connsiteX3" fmla="*/ 299110 w 339115"/>
                <a:gd name="connsiteY3" fmla="*/ 7132 h 335045"/>
                <a:gd name="connsiteX4" fmla="*/ 255295 w 339115"/>
                <a:gd name="connsiteY4" fmla="*/ 3322 h 335045"/>
                <a:gd name="connsiteX5" fmla="*/ 228625 w 339115"/>
                <a:gd name="connsiteY5" fmla="*/ 41422 h 335045"/>
                <a:gd name="connsiteX6" fmla="*/ 140995 w 339115"/>
                <a:gd name="connsiteY6" fmla="*/ 37612 h 335045"/>
                <a:gd name="connsiteX7" fmla="*/ 41935 w 339115"/>
                <a:gd name="connsiteY7" fmla="*/ 169057 h 335045"/>
                <a:gd name="connsiteX8" fmla="*/ 25 w 339115"/>
                <a:gd name="connsiteY8" fmla="*/ 210967 h 335045"/>
                <a:gd name="connsiteX9" fmla="*/ 36220 w 339115"/>
                <a:gd name="connsiteY9" fmla="*/ 268117 h 335045"/>
                <a:gd name="connsiteX10" fmla="*/ 68605 w 339115"/>
                <a:gd name="connsiteY10" fmla="*/ 268117 h 335045"/>
                <a:gd name="connsiteX11" fmla="*/ 70423 w 339115"/>
                <a:gd name="connsiteY11" fmla="*/ 282266 h 335045"/>
                <a:gd name="connsiteX12" fmla="*/ 128893 w 339115"/>
                <a:gd name="connsiteY12" fmla="*/ 282574 h 335045"/>
                <a:gd name="connsiteX13" fmla="*/ 143011 w 339115"/>
                <a:gd name="connsiteY13" fmla="*/ 268394 h 335045"/>
                <a:gd name="connsiteX14" fmla="*/ 216436 w 339115"/>
                <a:gd name="connsiteY14" fmla="*/ 268394 h 335045"/>
                <a:gd name="connsiteX15" fmla="*/ 287095 w 339115"/>
                <a:gd name="connsiteY15" fmla="*/ 335045 h 335045"/>
                <a:gd name="connsiteX16" fmla="*/ 335724 w 339115"/>
                <a:gd name="connsiteY16" fmla="*/ 280448 h 335045"/>
                <a:gd name="connsiteX0" fmla="*/ 335724 w 336090"/>
                <a:gd name="connsiteY0" fmla="*/ 280448 h 335045"/>
                <a:gd name="connsiteX1" fmla="*/ 336032 w 336090"/>
                <a:gd name="connsiteY1" fmla="*/ 53777 h 335045"/>
                <a:gd name="connsiteX2" fmla="*/ 295300 w 336090"/>
                <a:gd name="connsiteY2" fmla="*/ 52852 h 335045"/>
                <a:gd name="connsiteX3" fmla="*/ 299110 w 336090"/>
                <a:gd name="connsiteY3" fmla="*/ 7132 h 335045"/>
                <a:gd name="connsiteX4" fmla="*/ 255295 w 336090"/>
                <a:gd name="connsiteY4" fmla="*/ 3322 h 335045"/>
                <a:gd name="connsiteX5" fmla="*/ 228625 w 336090"/>
                <a:gd name="connsiteY5" fmla="*/ 41422 h 335045"/>
                <a:gd name="connsiteX6" fmla="*/ 140995 w 336090"/>
                <a:gd name="connsiteY6" fmla="*/ 37612 h 335045"/>
                <a:gd name="connsiteX7" fmla="*/ 41935 w 336090"/>
                <a:gd name="connsiteY7" fmla="*/ 169057 h 335045"/>
                <a:gd name="connsiteX8" fmla="*/ 25 w 336090"/>
                <a:gd name="connsiteY8" fmla="*/ 210967 h 335045"/>
                <a:gd name="connsiteX9" fmla="*/ 36220 w 336090"/>
                <a:gd name="connsiteY9" fmla="*/ 268117 h 335045"/>
                <a:gd name="connsiteX10" fmla="*/ 68605 w 336090"/>
                <a:gd name="connsiteY10" fmla="*/ 268117 h 335045"/>
                <a:gd name="connsiteX11" fmla="*/ 70423 w 336090"/>
                <a:gd name="connsiteY11" fmla="*/ 282266 h 335045"/>
                <a:gd name="connsiteX12" fmla="*/ 128893 w 336090"/>
                <a:gd name="connsiteY12" fmla="*/ 282574 h 335045"/>
                <a:gd name="connsiteX13" fmla="*/ 143011 w 336090"/>
                <a:gd name="connsiteY13" fmla="*/ 268394 h 335045"/>
                <a:gd name="connsiteX14" fmla="*/ 216436 w 336090"/>
                <a:gd name="connsiteY14" fmla="*/ 268394 h 335045"/>
                <a:gd name="connsiteX15" fmla="*/ 287095 w 336090"/>
                <a:gd name="connsiteY15" fmla="*/ 335045 h 335045"/>
                <a:gd name="connsiteX16" fmla="*/ 335724 w 336090"/>
                <a:gd name="connsiteY16" fmla="*/ 280448 h 335045"/>
                <a:gd name="connsiteX0" fmla="*/ 335724 w 336090"/>
                <a:gd name="connsiteY0" fmla="*/ 283470 h 338067"/>
                <a:gd name="connsiteX1" fmla="*/ 336032 w 336090"/>
                <a:gd name="connsiteY1" fmla="*/ 56799 h 338067"/>
                <a:gd name="connsiteX2" fmla="*/ 295300 w 336090"/>
                <a:gd name="connsiteY2" fmla="*/ 55874 h 338067"/>
                <a:gd name="connsiteX3" fmla="*/ 313907 w 336090"/>
                <a:gd name="connsiteY3" fmla="*/ 4605 h 338067"/>
                <a:gd name="connsiteX4" fmla="*/ 255295 w 336090"/>
                <a:gd name="connsiteY4" fmla="*/ 6344 h 338067"/>
                <a:gd name="connsiteX5" fmla="*/ 228625 w 336090"/>
                <a:gd name="connsiteY5" fmla="*/ 44444 h 338067"/>
                <a:gd name="connsiteX6" fmla="*/ 140995 w 336090"/>
                <a:gd name="connsiteY6" fmla="*/ 40634 h 338067"/>
                <a:gd name="connsiteX7" fmla="*/ 41935 w 336090"/>
                <a:gd name="connsiteY7" fmla="*/ 172079 h 338067"/>
                <a:gd name="connsiteX8" fmla="*/ 25 w 336090"/>
                <a:gd name="connsiteY8" fmla="*/ 213989 h 338067"/>
                <a:gd name="connsiteX9" fmla="*/ 36220 w 336090"/>
                <a:gd name="connsiteY9" fmla="*/ 271139 h 338067"/>
                <a:gd name="connsiteX10" fmla="*/ 68605 w 336090"/>
                <a:gd name="connsiteY10" fmla="*/ 271139 h 338067"/>
                <a:gd name="connsiteX11" fmla="*/ 70423 w 336090"/>
                <a:gd name="connsiteY11" fmla="*/ 285288 h 338067"/>
                <a:gd name="connsiteX12" fmla="*/ 128893 w 336090"/>
                <a:gd name="connsiteY12" fmla="*/ 285596 h 338067"/>
                <a:gd name="connsiteX13" fmla="*/ 143011 w 336090"/>
                <a:gd name="connsiteY13" fmla="*/ 271416 h 338067"/>
                <a:gd name="connsiteX14" fmla="*/ 216436 w 336090"/>
                <a:gd name="connsiteY14" fmla="*/ 271416 h 338067"/>
                <a:gd name="connsiteX15" fmla="*/ 287095 w 336090"/>
                <a:gd name="connsiteY15" fmla="*/ 338067 h 338067"/>
                <a:gd name="connsiteX16" fmla="*/ 335724 w 336090"/>
                <a:gd name="connsiteY16" fmla="*/ 283470 h 338067"/>
                <a:gd name="connsiteX0" fmla="*/ 335724 w 336090"/>
                <a:gd name="connsiteY0" fmla="*/ 283001 h 337598"/>
                <a:gd name="connsiteX1" fmla="*/ 336032 w 336090"/>
                <a:gd name="connsiteY1" fmla="*/ 56330 h 337598"/>
                <a:gd name="connsiteX2" fmla="*/ 295300 w 336090"/>
                <a:gd name="connsiteY2" fmla="*/ 55405 h 337598"/>
                <a:gd name="connsiteX3" fmla="*/ 313907 w 336090"/>
                <a:gd name="connsiteY3" fmla="*/ 4136 h 337598"/>
                <a:gd name="connsiteX4" fmla="*/ 255295 w 336090"/>
                <a:gd name="connsiteY4" fmla="*/ 5875 h 337598"/>
                <a:gd name="connsiteX5" fmla="*/ 221843 w 336090"/>
                <a:gd name="connsiteY5" fmla="*/ 34419 h 337598"/>
                <a:gd name="connsiteX6" fmla="*/ 140995 w 336090"/>
                <a:gd name="connsiteY6" fmla="*/ 40165 h 337598"/>
                <a:gd name="connsiteX7" fmla="*/ 41935 w 336090"/>
                <a:gd name="connsiteY7" fmla="*/ 171610 h 337598"/>
                <a:gd name="connsiteX8" fmla="*/ 25 w 336090"/>
                <a:gd name="connsiteY8" fmla="*/ 213520 h 337598"/>
                <a:gd name="connsiteX9" fmla="*/ 36220 w 336090"/>
                <a:gd name="connsiteY9" fmla="*/ 270670 h 337598"/>
                <a:gd name="connsiteX10" fmla="*/ 68605 w 336090"/>
                <a:gd name="connsiteY10" fmla="*/ 270670 h 337598"/>
                <a:gd name="connsiteX11" fmla="*/ 70423 w 336090"/>
                <a:gd name="connsiteY11" fmla="*/ 284819 h 337598"/>
                <a:gd name="connsiteX12" fmla="*/ 128893 w 336090"/>
                <a:gd name="connsiteY12" fmla="*/ 285127 h 337598"/>
                <a:gd name="connsiteX13" fmla="*/ 143011 w 336090"/>
                <a:gd name="connsiteY13" fmla="*/ 270947 h 337598"/>
                <a:gd name="connsiteX14" fmla="*/ 216436 w 336090"/>
                <a:gd name="connsiteY14" fmla="*/ 270947 h 337598"/>
                <a:gd name="connsiteX15" fmla="*/ 287095 w 336090"/>
                <a:gd name="connsiteY15" fmla="*/ 337598 h 337598"/>
                <a:gd name="connsiteX16" fmla="*/ 335724 w 336090"/>
                <a:gd name="connsiteY16" fmla="*/ 283001 h 337598"/>
                <a:gd name="connsiteX0" fmla="*/ 335724 w 336090"/>
                <a:gd name="connsiteY0" fmla="*/ 283001 h 337598"/>
                <a:gd name="connsiteX1" fmla="*/ 336032 w 336090"/>
                <a:gd name="connsiteY1" fmla="*/ 56330 h 337598"/>
                <a:gd name="connsiteX2" fmla="*/ 295300 w 336090"/>
                <a:gd name="connsiteY2" fmla="*/ 55405 h 337598"/>
                <a:gd name="connsiteX3" fmla="*/ 313907 w 336090"/>
                <a:gd name="connsiteY3" fmla="*/ 4136 h 337598"/>
                <a:gd name="connsiteX4" fmla="*/ 255295 w 336090"/>
                <a:gd name="connsiteY4" fmla="*/ 5875 h 337598"/>
                <a:gd name="connsiteX5" fmla="*/ 221843 w 336090"/>
                <a:gd name="connsiteY5" fmla="*/ 34419 h 337598"/>
                <a:gd name="connsiteX6" fmla="*/ 140995 w 336090"/>
                <a:gd name="connsiteY6" fmla="*/ 40165 h 337598"/>
                <a:gd name="connsiteX7" fmla="*/ 41935 w 336090"/>
                <a:gd name="connsiteY7" fmla="*/ 171610 h 337598"/>
                <a:gd name="connsiteX8" fmla="*/ 25 w 336090"/>
                <a:gd name="connsiteY8" fmla="*/ 213520 h 337598"/>
                <a:gd name="connsiteX9" fmla="*/ 36220 w 336090"/>
                <a:gd name="connsiteY9" fmla="*/ 270670 h 337598"/>
                <a:gd name="connsiteX10" fmla="*/ 68605 w 336090"/>
                <a:gd name="connsiteY10" fmla="*/ 270670 h 337598"/>
                <a:gd name="connsiteX11" fmla="*/ 70423 w 336090"/>
                <a:gd name="connsiteY11" fmla="*/ 284819 h 337598"/>
                <a:gd name="connsiteX12" fmla="*/ 128893 w 336090"/>
                <a:gd name="connsiteY12" fmla="*/ 285127 h 337598"/>
                <a:gd name="connsiteX13" fmla="*/ 143011 w 336090"/>
                <a:gd name="connsiteY13" fmla="*/ 270947 h 337598"/>
                <a:gd name="connsiteX14" fmla="*/ 216436 w 336090"/>
                <a:gd name="connsiteY14" fmla="*/ 270947 h 337598"/>
                <a:gd name="connsiteX15" fmla="*/ 287095 w 336090"/>
                <a:gd name="connsiteY15" fmla="*/ 337598 h 337598"/>
                <a:gd name="connsiteX16" fmla="*/ 335724 w 336090"/>
                <a:gd name="connsiteY16" fmla="*/ 283001 h 337598"/>
                <a:gd name="connsiteX0" fmla="*/ 335724 w 336090"/>
                <a:gd name="connsiteY0" fmla="*/ 283001 h 337598"/>
                <a:gd name="connsiteX1" fmla="*/ 336032 w 336090"/>
                <a:gd name="connsiteY1" fmla="*/ 56330 h 337598"/>
                <a:gd name="connsiteX2" fmla="*/ 295300 w 336090"/>
                <a:gd name="connsiteY2" fmla="*/ 55405 h 337598"/>
                <a:gd name="connsiteX3" fmla="*/ 313907 w 336090"/>
                <a:gd name="connsiteY3" fmla="*/ 4136 h 337598"/>
                <a:gd name="connsiteX4" fmla="*/ 255295 w 336090"/>
                <a:gd name="connsiteY4" fmla="*/ 5875 h 337598"/>
                <a:gd name="connsiteX5" fmla="*/ 221843 w 336090"/>
                <a:gd name="connsiteY5" fmla="*/ 34419 h 337598"/>
                <a:gd name="connsiteX6" fmla="*/ 156100 w 336090"/>
                <a:gd name="connsiteY6" fmla="*/ 36466 h 337598"/>
                <a:gd name="connsiteX7" fmla="*/ 41935 w 336090"/>
                <a:gd name="connsiteY7" fmla="*/ 171610 h 337598"/>
                <a:gd name="connsiteX8" fmla="*/ 25 w 336090"/>
                <a:gd name="connsiteY8" fmla="*/ 213520 h 337598"/>
                <a:gd name="connsiteX9" fmla="*/ 36220 w 336090"/>
                <a:gd name="connsiteY9" fmla="*/ 270670 h 337598"/>
                <a:gd name="connsiteX10" fmla="*/ 68605 w 336090"/>
                <a:gd name="connsiteY10" fmla="*/ 270670 h 337598"/>
                <a:gd name="connsiteX11" fmla="*/ 70423 w 336090"/>
                <a:gd name="connsiteY11" fmla="*/ 284819 h 337598"/>
                <a:gd name="connsiteX12" fmla="*/ 128893 w 336090"/>
                <a:gd name="connsiteY12" fmla="*/ 285127 h 337598"/>
                <a:gd name="connsiteX13" fmla="*/ 143011 w 336090"/>
                <a:gd name="connsiteY13" fmla="*/ 270947 h 337598"/>
                <a:gd name="connsiteX14" fmla="*/ 216436 w 336090"/>
                <a:gd name="connsiteY14" fmla="*/ 270947 h 337598"/>
                <a:gd name="connsiteX15" fmla="*/ 287095 w 336090"/>
                <a:gd name="connsiteY15" fmla="*/ 337598 h 337598"/>
                <a:gd name="connsiteX16" fmla="*/ 335724 w 336090"/>
                <a:gd name="connsiteY16" fmla="*/ 283001 h 337598"/>
                <a:gd name="connsiteX0" fmla="*/ 335724 w 336090"/>
                <a:gd name="connsiteY0" fmla="*/ 283001 h 337598"/>
                <a:gd name="connsiteX1" fmla="*/ 336032 w 336090"/>
                <a:gd name="connsiteY1" fmla="*/ 56330 h 337598"/>
                <a:gd name="connsiteX2" fmla="*/ 295300 w 336090"/>
                <a:gd name="connsiteY2" fmla="*/ 55405 h 337598"/>
                <a:gd name="connsiteX3" fmla="*/ 313907 w 336090"/>
                <a:gd name="connsiteY3" fmla="*/ 4136 h 337598"/>
                <a:gd name="connsiteX4" fmla="*/ 255295 w 336090"/>
                <a:gd name="connsiteY4" fmla="*/ 5875 h 337598"/>
                <a:gd name="connsiteX5" fmla="*/ 221843 w 336090"/>
                <a:gd name="connsiteY5" fmla="*/ 34419 h 337598"/>
                <a:gd name="connsiteX6" fmla="*/ 152709 w 336090"/>
                <a:gd name="connsiteY6" fmla="*/ 37391 h 337598"/>
                <a:gd name="connsiteX7" fmla="*/ 41935 w 336090"/>
                <a:gd name="connsiteY7" fmla="*/ 171610 h 337598"/>
                <a:gd name="connsiteX8" fmla="*/ 25 w 336090"/>
                <a:gd name="connsiteY8" fmla="*/ 213520 h 337598"/>
                <a:gd name="connsiteX9" fmla="*/ 36220 w 336090"/>
                <a:gd name="connsiteY9" fmla="*/ 270670 h 337598"/>
                <a:gd name="connsiteX10" fmla="*/ 68605 w 336090"/>
                <a:gd name="connsiteY10" fmla="*/ 270670 h 337598"/>
                <a:gd name="connsiteX11" fmla="*/ 70423 w 336090"/>
                <a:gd name="connsiteY11" fmla="*/ 284819 h 337598"/>
                <a:gd name="connsiteX12" fmla="*/ 128893 w 336090"/>
                <a:gd name="connsiteY12" fmla="*/ 285127 h 337598"/>
                <a:gd name="connsiteX13" fmla="*/ 143011 w 336090"/>
                <a:gd name="connsiteY13" fmla="*/ 270947 h 337598"/>
                <a:gd name="connsiteX14" fmla="*/ 216436 w 336090"/>
                <a:gd name="connsiteY14" fmla="*/ 270947 h 337598"/>
                <a:gd name="connsiteX15" fmla="*/ 287095 w 336090"/>
                <a:gd name="connsiteY15" fmla="*/ 337598 h 337598"/>
                <a:gd name="connsiteX16" fmla="*/ 335724 w 336090"/>
                <a:gd name="connsiteY16" fmla="*/ 283001 h 337598"/>
                <a:gd name="connsiteX0" fmla="*/ 335724 w 336090"/>
                <a:gd name="connsiteY0" fmla="*/ 282306 h 336903"/>
                <a:gd name="connsiteX1" fmla="*/ 336032 w 336090"/>
                <a:gd name="connsiteY1" fmla="*/ 55635 h 336903"/>
                <a:gd name="connsiteX2" fmla="*/ 295300 w 336090"/>
                <a:gd name="connsiteY2" fmla="*/ 54710 h 336903"/>
                <a:gd name="connsiteX3" fmla="*/ 313907 w 336090"/>
                <a:gd name="connsiteY3" fmla="*/ 3441 h 336903"/>
                <a:gd name="connsiteX4" fmla="*/ 255295 w 336090"/>
                <a:gd name="connsiteY4" fmla="*/ 5180 h 336903"/>
                <a:gd name="connsiteX5" fmla="*/ 221843 w 336090"/>
                <a:gd name="connsiteY5" fmla="*/ 33724 h 336903"/>
                <a:gd name="connsiteX6" fmla="*/ 152709 w 336090"/>
                <a:gd name="connsiteY6" fmla="*/ 36696 h 336903"/>
                <a:gd name="connsiteX7" fmla="*/ 41935 w 336090"/>
                <a:gd name="connsiteY7" fmla="*/ 170915 h 336903"/>
                <a:gd name="connsiteX8" fmla="*/ 25 w 336090"/>
                <a:gd name="connsiteY8" fmla="*/ 212825 h 336903"/>
                <a:gd name="connsiteX9" fmla="*/ 36220 w 336090"/>
                <a:gd name="connsiteY9" fmla="*/ 269975 h 336903"/>
                <a:gd name="connsiteX10" fmla="*/ 68605 w 336090"/>
                <a:gd name="connsiteY10" fmla="*/ 269975 h 336903"/>
                <a:gd name="connsiteX11" fmla="*/ 70423 w 336090"/>
                <a:gd name="connsiteY11" fmla="*/ 284124 h 336903"/>
                <a:gd name="connsiteX12" fmla="*/ 128893 w 336090"/>
                <a:gd name="connsiteY12" fmla="*/ 284432 h 336903"/>
                <a:gd name="connsiteX13" fmla="*/ 143011 w 336090"/>
                <a:gd name="connsiteY13" fmla="*/ 270252 h 336903"/>
                <a:gd name="connsiteX14" fmla="*/ 216436 w 336090"/>
                <a:gd name="connsiteY14" fmla="*/ 270252 h 336903"/>
                <a:gd name="connsiteX15" fmla="*/ 287095 w 336090"/>
                <a:gd name="connsiteY15" fmla="*/ 336903 h 336903"/>
                <a:gd name="connsiteX16" fmla="*/ 335724 w 336090"/>
                <a:gd name="connsiteY16" fmla="*/ 282306 h 336903"/>
                <a:gd name="connsiteX0" fmla="*/ 335724 w 336090"/>
                <a:gd name="connsiteY0" fmla="*/ 278865 h 333462"/>
                <a:gd name="connsiteX1" fmla="*/ 336032 w 336090"/>
                <a:gd name="connsiteY1" fmla="*/ 52194 h 333462"/>
                <a:gd name="connsiteX2" fmla="*/ 295300 w 336090"/>
                <a:gd name="connsiteY2" fmla="*/ 51269 h 333462"/>
                <a:gd name="connsiteX3" fmla="*/ 313907 w 336090"/>
                <a:gd name="connsiteY3" fmla="*/ 0 h 333462"/>
                <a:gd name="connsiteX4" fmla="*/ 255295 w 336090"/>
                <a:gd name="connsiteY4" fmla="*/ 1739 h 333462"/>
                <a:gd name="connsiteX5" fmla="*/ 221843 w 336090"/>
                <a:gd name="connsiteY5" fmla="*/ 30283 h 333462"/>
                <a:gd name="connsiteX6" fmla="*/ 152709 w 336090"/>
                <a:gd name="connsiteY6" fmla="*/ 33255 h 333462"/>
                <a:gd name="connsiteX7" fmla="*/ 41935 w 336090"/>
                <a:gd name="connsiteY7" fmla="*/ 167474 h 333462"/>
                <a:gd name="connsiteX8" fmla="*/ 25 w 336090"/>
                <a:gd name="connsiteY8" fmla="*/ 209384 h 333462"/>
                <a:gd name="connsiteX9" fmla="*/ 36220 w 336090"/>
                <a:gd name="connsiteY9" fmla="*/ 266534 h 333462"/>
                <a:gd name="connsiteX10" fmla="*/ 68605 w 336090"/>
                <a:gd name="connsiteY10" fmla="*/ 266534 h 333462"/>
                <a:gd name="connsiteX11" fmla="*/ 70423 w 336090"/>
                <a:gd name="connsiteY11" fmla="*/ 280683 h 333462"/>
                <a:gd name="connsiteX12" fmla="*/ 128893 w 336090"/>
                <a:gd name="connsiteY12" fmla="*/ 280991 h 333462"/>
                <a:gd name="connsiteX13" fmla="*/ 143011 w 336090"/>
                <a:gd name="connsiteY13" fmla="*/ 266811 h 333462"/>
                <a:gd name="connsiteX14" fmla="*/ 216436 w 336090"/>
                <a:gd name="connsiteY14" fmla="*/ 266811 h 333462"/>
                <a:gd name="connsiteX15" fmla="*/ 287095 w 336090"/>
                <a:gd name="connsiteY15" fmla="*/ 333462 h 333462"/>
                <a:gd name="connsiteX16" fmla="*/ 335724 w 336090"/>
                <a:gd name="connsiteY16" fmla="*/ 278865 h 333462"/>
                <a:gd name="connsiteX0" fmla="*/ 335724 w 336090"/>
                <a:gd name="connsiteY0" fmla="*/ 280406 h 335003"/>
                <a:gd name="connsiteX1" fmla="*/ 336032 w 336090"/>
                <a:gd name="connsiteY1" fmla="*/ 53735 h 335003"/>
                <a:gd name="connsiteX2" fmla="*/ 295300 w 336090"/>
                <a:gd name="connsiteY2" fmla="*/ 52810 h 335003"/>
                <a:gd name="connsiteX3" fmla="*/ 313290 w 336090"/>
                <a:gd name="connsiteY3" fmla="*/ 0 h 335003"/>
                <a:gd name="connsiteX4" fmla="*/ 255295 w 336090"/>
                <a:gd name="connsiteY4" fmla="*/ 3280 h 335003"/>
                <a:gd name="connsiteX5" fmla="*/ 221843 w 336090"/>
                <a:gd name="connsiteY5" fmla="*/ 31824 h 335003"/>
                <a:gd name="connsiteX6" fmla="*/ 152709 w 336090"/>
                <a:gd name="connsiteY6" fmla="*/ 34796 h 335003"/>
                <a:gd name="connsiteX7" fmla="*/ 41935 w 336090"/>
                <a:gd name="connsiteY7" fmla="*/ 169015 h 335003"/>
                <a:gd name="connsiteX8" fmla="*/ 25 w 336090"/>
                <a:gd name="connsiteY8" fmla="*/ 210925 h 335003"/>
                <a:gd name="connsiteX9" fmla="*/ 36220 w 336090"/>
                <a:gd name="connsiteY9" fmla="*/ 268075 h 335003"/>
                <a:gd name="connsiteX10" fmla="*/ 68605 w 336090"/>
                <a:gd name="connsiteY10" fmla="*/ 268075 h 335003"/>
                <a:gd name="connsiteX11" fmla="*/ 70423 w 336090"/>
                <a:gd name="connsiteY11" fmla="*/ 282224 h 335003"/>
                <a:gd name="connsiteX12" fmla="*/ 128893 w 336090"/>
                <a:gd name="connsiteY12" fmla="*/ 282532 h 335003"/>
                <a:gd name="connsiteX13" fmla="*/ 143011 w 336090"/>
                <a:gd name="connsiteY13" fmla="*/ 268352 h 335003"/>
                <a:gd name="connsiteX14" fmla="*/ 216436 w 336090"/>
                <a:gd name="connsiteY14" fmla="*/ 268352 h 335003"/>
                <a:gd name="connsiteX15" fmla="*/ 287095 w 336090"/>
                <a:gd name="connsiteY15" fmla="*/ 335003 h 335003"/>
                <a:gd name="connsiteX16" fmla="*/ 335724 w 336090"/>
                <a:gd name="connsiteY16" fmla="*/ 280406 h 335003"/>
                <a:gd name="connsiteX0" fmla="*/ 335724 w 336090"/>
                <a:gd name="connsiteY0" fmla="*/ 280406 h 335003"/>
                <a:gd name="connsiteX1" fmla="*/ 336032 w 336090"/>
                <a:gd name="connsiteY1" fmla="*/ 53735 h 335003"/>
                <a:gd name="connsiteX2" fmla="*/ 294684 w 336090"/>
                <a:gd name="connsiteY2" fmla="*/ 49727 h 335003"/>
                <a:gd name="connsiteX3" fmla="*/ 313290 w 336090"/>
                <a:gd name="connsiteY3" fmla="*/ 0 h 335003"/>
                <a:gd name="connsiteX4" fmla="*/ 255295 w 336090"/>
                <a:gd name="connsiteY4" fmla="*/ 3280 h 335003"/>
                <a:gd name="connsiteX5" fmla="*/ 221843 w 336090"/>
                <a:gd name="connsiteY5" fmla="*/ 31824 h 335003"/>
                <a:gd name="connsiteX6" fmla="*/ 152709 w 336090"/>
                <a:gd name="connsiteY6" fmla="*/ 34796 h 335003"/>
                <a:gd name="connsiteX7" fmla="*/ 41935 w 336090"/>
                <a:gd name="connsiteY7" fmla="*/ 169015 h 335003"/>
                <a:gd name="connsiteX8" fmla="*/ 25 w 336090"/>
                <a:gd name="connsiteY8" fmla="*/ 210925 h 335003"/>
                <a:gd name="connsiteX9" fmla="*/ 36220 w 336090"/>
                <a:gd name="connsiteY9" fmla="*/ 268075 h 335003"/>
                <a:gd name="connsiteX10" fmla="*/ 68605 w 336090"/>
                <a:gd name="connsiteY10" fmla="*/ 268075 h 335003"/>
                <a:gd name="connsiteX11" fmla="*/ 70423 w 336090"/>
                <a:gd name="connsiteY11" fmla="*/ 282224 h 335003"/>
                <a:gd name="connsiteX12" fmla="*/ 128893 w 336090"/>
                <a:gd name="connsiteY12" fmla="*/ 282532 h 335003"/>
                <a:gd name="connsiteX13" fmla="*/ 143011 w 336090"/>
                <a:gd name="connsiteY13" fmla="*/ 268352 h 335003"/>
                <a:gd name="connsiteX14" fmla="*/ 216436 w 336090"/>
                <a:gd name="connsiteY14" fmla="*/ 268352 h 335003"/>
                <a:gd name="connsiteX15" fmla="*/ 287095 w 336090"/>
                <a:gd name="connsiteY15" fmla="*/ 335003 h 335003"/>
                <a:gd name="connsiteX16" fmla="*/ 335724 w 336090"/>
                <a:gd name="connsiteY16" fmla="*/ 280406 h 335003"/>
                <a:gd name="connsiteX0" fmla="*/ 335724 w 338190"/>
                <a:gd name="connsiteY0" fmla="*/ 280406 h 335003"/>
                <a:gd name="connsiteX1" fmla="*/ 338190 w 338190"/>
                <a:gd name="connsiteY1" fmla="*/ 50036 h 335003"/>
                <a:gd name="connsiteX2" fmla="*/ 294684 w 338190"/>
                <a:gd name="connsiteY2" fmla="*/ 49727 h 335003"/>
                <a:gd name="connsiteX3" fmla="*/ 313290 w 338190"/>
                <a:gd name="connsiteY3" fmla="*/ 0 h 335003"/>
                <a:gd name="connsiteX4" fmla="*/ 255295 w 338190"/>
                <a:gd name="connsiteY4" fmla="*/ 3280 h 335003"/>
                <a:gd name="connsiteX5" fmla="*/ 221843 w 338190"/>
                <a:gd name="connsiteY5" fmla="*/ 31824 h 335003"/>
                <a:gd name="connsiteX6" fmla="*/ 152709 w 338190"/>
                <a:gd name="connsiteY6" fmla="*/ 34796 h 335003"/>
                <a:gd name="connsiteX7" fmla="*/ 41935 w 338190"/>
                <a:gd name="connsiteY7" fmla="*/ 169015 h 335003"/>
                <a:gd name="connsiteX8" fmla="*/ 25 w 338190"/>
                <a:gd name="connsiteY8" fmla="*/ 210925 h 335003"/>
                <a:gd name="connsiteX9" fmla="*/ 36220 w 338190"/>
                <a:gd name="connsiteY9" fmla="*/ 268075 h 335003"/>
                <a:gd name="connsiteX10" fmla="*/ 68605 w 338190"/>
                <a:gd name="connsiteY10" fmla="*/ 268075 h 335003"/>
                <a:gd name="connsiteX11" fmla="*/ 70423 w 338190"/>
                <a:gd name="connsiteY11" fmla="*/ 282224 h 335003"/>
                <a:gd name="connsiteX12" fmla="*/ 128893 w 338190"/>
                <a:gd name="connsiteY12" fmla="*/ 282532 h 335003"/>
                <a:gd name="connsiteX13" fmla="*/ 143011 w 338190"/>
                <a:gd name="connsiteY13" fmla="*/ 268352 h 335003"/>
                <a:gd name="connsiteX14" fmla="*/ 216436 w 338190"/>
                <a:gd name="connsiteY14" fmla="*/ 268352 h 335003"/>
                <a:gd name="connsiteX15" fmla="*/ 287095 w 338190"/>
                <a:gd name="connsiteY15" fmla="*/ 335003 h 335003"/>
                <a:gd name="connsiteX16" fmla="*/ 335724 w 338190"/>
                <a:gd name="connsiteY16" fmla="*/ 280406 h 335003"/>
                <a:gd name="connsiteX0" fmla="*/ 340656 w 340831"/>
                <a:gd name="connsiteY0" fmla="*/ 281639 h 335003"/>
                <a:gd name="connsiteX1" fmla="*/ 338190 w 340831"/>
                <a:gd name="connsiteY1" fmla="*/ 50036 h 335003"/>
                <a:gd name="connsiteX2" fmla="*/ 294684 w 340831"/>
                <a:gd name="connsiteY2" fmla="*/ 49727 h 335003"/>
                <a:gd name="connsiteX3" fmla="*/ 313290 w 340831"/>
                <a:gd name="connsiteY3" fmla="*/ 0 h 335003"/>
                <a:gd name="connsiteX4" fmla="*/ 255295 w 340831"/>
                <a:gd name="connsiteY4" fmla="*/ 3280 h 335003"/>
                <a:gd name="connsiteX5" fmla="*/ 221843 w 340831"/>
                <a:gd name="connsiteY5" fmla="*/ 31824 h 335003"/>
                <a:gd name="connsiteX6" fmla="*/ 152709 w 340831"/>
                <a:gd name="connsiteY6" fmla="*/ 34796 h 335003"/>
                <a:gd name="connsiteX7" fmla="*/ 41935 w 340831"/>
                <a:gd name="connsiteY7" fmla="*/ 169015 h 335003"/>
                <a:gd name="connsiteX8" fmla="*/ 25 w 340831"/>
                <a:gd name="connsiteY8" fmla="*/ 210925 h 335003"/>
                <a:gd name="connsiteX9" fmla="*/ 36220 w 340831"/>
                <a:gd name="connsiteY9" fmla="*/ 268075 h 335003"/>
                <a:gd name="connsiteX10" fmla="*/ 68605 w 340831"/>
                <a:gd name="connsiteY10" fmla="*/ 268075 h 335003"/>
                <a:gd name="connsiteX11" fmla="*/ 70423 w 340831"/>
                <a:gd name="connsiteY11" fmla="*/ 282224 h 335003"/>
                <a:gd name="connsiteX12" fmla="*/ 128893 w 340831"/>
                <a:gd name="connsiteY12" fmla="*/ 282532 h 335003"/>
                <a:gd name="connsiteX13" fmla="*/ 143011 w 340831"/>
                <a:gd name="connsiteY13" fmla="*/ 268352 h 335003"/>
                <a:gd name="connsiteX14" fmla="*/ 216436 w 340831"/>
                <a:gd name="connsiteY14" fmla="*/ 268352 h 335003"/>
                <a:gd name="connsiteX15" fmla="*/ 287095 w 340831"/>
                <a:gd name="connsiteY15" fmla="*/ 335003 h 335003"/>
                <a:gd name="connsiteX16" fmla="*/ 340656 w 340831"/>
                <a:gd name="connsiteY16" fmla="*/ 281639 h 335003"/>
                <a:gd name="connsiteX0" fmla="*/ 340656 w 340982"/>
                <a:gd name="connsiteY0" fmla="*/ 281639 h 335003"/>
                <a:gd name="connsiteX1" fmla="*/ 340656 w 340982"/>
                <a:gd name="connsiteY1" fmla="*/ 50344 h 335003"/>
                <a:gd name="connsiteX2" fmla="*/ 294684 w 340982"/>
                <a:gd name="connsiteY2" fmla="*/ 49727 h 335003"/>
                <a:gd name="connsiteX3" fmla="*/ 313290 w 340982"/>
                <a:gd name="connsiteY3" fmla="*/ 0 h 335003"/>
                <a:gd name="connsiteX4" fmla="*/ 255295 w 340982"/>
                <a:gd name="connsiteY4" fmla="*/ 3280 h 335003"/>
                <a:gd name="connsiteX5" fmla="*/ 221843 w 340982"/>
                <a:gd name="connsiteY5" fmla="*/ 31824 h 335003"/>
                <a:gd name="connsiteX6" fmla="*/ 152709 w 340982"/>
                <a:gd name="connsiteY6" fmla="*/ 34796 h 335003"/>
                <a:gd name="connsiteX7" fmla="*/ 41935 w 340982"/>
                <a:gd name="connsiteY7" fmla="*/ 169015 h 335003"/>
                <a:gd name="connsiteX8" fmla="*/ 25 w 340982"/>
                <a:gd name="connsiteY8" fmla="*/ 210925 h 335003"/>
                <a:gd name="connsiteX9" fmla="*/ 36220 w 340982"/>
                <a:gd name="connsiteY9" fmla="*/ 268075 h 335003"/>
                <a:gd name="connsiteX10" fmla="*/ 68605 w 340982"/>
                <a:gd name="connsiteY10" fmla="*/ 268075 h 335003"/>
                <a:gd name="connsiteX11" fmla="*/ 70423 w 340982"/>
                <a:gd name="connsiteY11" fmla="*/ 282224 h 335003"/>
                <a:gd name="connsiteX12" fmla="*/ 128893 w 340982"/>
                <a:gd name="connsiteY12" fmla="*/ 282532 h 335003"/>
                <a:gd name="connsiteX13" fmla="*/ 143011 w 340982"/>
                <a:gd name="connsiteY13" fmla="*/ 268352 h 335003"/>
                <a:gd name="connsiteX14" fmla="*/ 216436 w 340982"/>
                <a:gd name="connsiteY14" fmla="*/ 268352 h 335003"/>
                <a:gd name="connsiteX15" fmla="*/ 287095 w 340982"/>
                <a:gd name="connsiteY15" fmla="*/ 335003 h 335003"/>
                <a:gd name="connsiteX16" fmla="*/ 340656 w 340982"/>
                <a:gd name="connsiteY16" fmla="*/ 281639 h 335003"/>
                <a:gd name="connsiteX0" fmla="*/ 340656 w 340982"/>
                <a:gd name="connsiteY0" fmla="*/ 281639 h 339010"/>
                <a:gd name="connsiteX1" fmla="*/ 340656 w 340982"/>
                <a:gd name="connsiteY1" fmla="*/ 50344 h 339010"/>
                <a:gd name="connsiteX2" fmla="*/ 294684 w 340982"/>
                <a:gd name="connsiteY2" fmla="*/ 49727 h 339010"/>
                <a:gd name="connsiteX3" fmla="*/ 313290 w 340982"/>
                <a:gd name="connsiteY3" fmla="*/ 0 h 339010"/>
                <a:gd name="connsiteX4" fmla="*/ 255295 w 340982"/>
                <a:gd name="connsiteY4" fmla="*/ 3280 h 339010"/>
                <a:gd name="connsiteX5" fmla="*/ 221843 w 340982"/>
                <a:gd name="connsiteY5" fmla="*/ 31824 h 339010"/>
                <a:gd name="connsiteX6" fmla="*/ 152709 w 340982"/>
                <a:gd name="connsiteY6" fmla="*/ 34796 h 339010"/>
                <a:gd name="connsiteX7" fmla="*/ 41935 w 340982"/>
                <a:gd name="connsiteY7" fmla="*/ 169015 h 339010"/>
                <a:gd name="connsiteX8" fmla="*/ 25 w 340982"/>
                <a:gd name="connsiteY8" fmla="*/ 210925 h 339010"/>
                <a:gd name="connsiteX9" fmla="*/ 36220 w 340982"/>
                <a:gd name="connsiteY9" fmla="*/ 268075 h 339010"/>
                <a:gd name="connsiteX10" fmla="*/ 68605 w 340982"/>
                <a:gd name="connsiteY10" fmla="*/ 268075 h 339010"/>
                <a:gd name="connsiteX11" fmla="*/ 70423 w 340982"/>
                <a:gd name="connsiteY11" fmla="*/ 282224 h 339010"/>
                <a:gd name="connsiteX12" fmla="*/ 128893 w 340982"/>
                <a:gd name="connsiteY12" fmla="*/ 282532 h 339010"/>
                <a:gd name="connsiteX13" fmla="*/ 143011 w 340982"/>
                <a:gd name="connsiteY13" fmla="*/ 268352 h 339010"/>
                <a:gd name="connsiteX14" fmla="*/ 216436 w 340982"/>
                <a:gd name="connsiteY14" fmla="*/ 268352 h 339010"/>
                <a:gd name="connsiteX15" fmla="*/ 288328 w 340982"/>
                <a:gd name="connsiteY15" fmla="*/ 339010 h 339010"/>
                <a:gd name="connsiteX16" fmla="*/ 340656 w 340982"/>
                <a:gd name="connsiteY16" fmla="*/ 281639 h 339010"/>
                <a:gd name="connsiteX0" fmla="*/ 340656 w 340982"/>
                <a:gd name="connsiteY0" fmla="*/ 281639 h 339010"/>
                <a:gd name="connsiteX1" fmla="*/ 340656 w 340982"/>
                <a:gd name="connsiteY1" fmla="*/ 50344 h 339010"/>
                <a:gd name="connsiteX2" fmla="*/ 294684 w 340982"/>
                <a:gd name="connsiteY2" fmla="*/ 49727 h 339010"/>
                <a:gd name="connsiteX3" fmla="*/ 313290 w 340982"/>
                <a:gd name="connsiteY3" fmla="*/ 0 h 339010"/>
                <a:gd name="connsiteX4" fmla="*/ 255295 w 340982"/>
                <a:gd name="connsiteY4" fmla="*/ 3280 h 339010"/>
                <a:gd name="connsiteX5" fmla="*/ 221843 w 340982"/>
                <a:gd name="connsiteY5" fmla="*/ 31824 h 339010"/>
                <a:gd name="connsiteX6" fmla="*/ 152709 w 340982"/>
                <a:gd name="connsiteY6" fmla="*/ 34796 h 339010"/>
                <a:gd name="connsiteX7" fmla="*/ 41935 w 340982"/>
                <a:gd name="connsiteY7" fmla="*/ 169015 h 339010"/>
                <a:gd name="connsiteX8" fmla="*/ 25 w 340982"/>
                <a:gd name="connsiteY8" fmla="*/ 210925 h 339010"/>
                <a:gd name="connsiteX9" fmla="*/ 36220 w 340982"/>
                <a:gd name="connsiteY9" fmla="*/ 268075 h 339010"/>
                <a:gd name="connsiteX10" fmla="*/ 68605 w 340982"/>
                <a:gd name="connsiteY10" fmla="*/ 268075 h 339010"/>
                <a:gd name="connsiteX11" fmla="*/ 70423 w 340982"/>
                <a:gd name="connsiteY11" fmla="*/ 282224 h 339010"/>
                <a:gd name="connsiteX12" fmla="*/ 128893 w 340982"/>
                <a:gd name="connsiteY12" fmla="*/ 282532 h 339010"/>
                <a:gd name="connsiteX13" fmla="*/ 143011 w 340982"/>
                <a:gd name="connsiteY13" fmla="*/ 268352 h 339010"/>
                <a:gd name="connsiteX14" fmla="*/ 216436 w 340982"/>
                <a:gd name="connsiteY14" fmla="*/ 271743 h 339010"/>
                <a:gd name="connsiteX15" fmla="*/ 288328 w 340982"/>
                <a:gd name="connsiteY15" fmla="*/ 339010 h 339010"/>
                <a:gd name="connsiteX16" fmla="*/ 340656 w 340982"/>
                <a:gd name="connsiteY16" fmla="*/ 281639 h 339010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8605 w 340982"/>
                <a:gd name="connsiteY10" fmla="*/ 268075 h 339318"/>
                <a:gd name="connsiteX11" fmla="*/ 70423 w 340982"/>
                <a:gd name="connsiteY11" fmla="*/ 282224 h 339318"/>
                <a:gd name="connsiteX12" fmla="*/ 128893 w 340982"/>
                <a:gd name="connsiteY12" fmla="*/ 282532 h 339318"/>
                <a:gd name="connsiteX13" fmla="*/ 143011 w 340982"/>
                <a:gd name="connsiteY13" fmla="*/ 268352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8605 w 340982"/>
                <a:gd name="connsiteY10" fmla="*/ 268075 h 339318"/>
                <a:gd name="connsiteX11" fmla="*/ 70423 w 340982"/>
                <a:gd name="connsiteY11" fmla="*/ 282224 h 339318"/>
                <a:gd name="connsiteX12" fmla="*/ 128893 w 340982"/>
                <a:gd name="connsiteY12" fmla="*/ 282532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8605 w 340982"/>
                <a:gd name="connsiteY10" fmla="*/ 268075 h 339318"/>
                <a:gd name="connsiteX11" fmla="*/ 70423 w 340982"/>
                <a:gd name="connsiteY11" fmla="*/ 282224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8605 w 340982"/>
                <a:gd name="connsiteY10" fmla="*/ 268075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0898 w 340982"/>
                <a:gd name="connsiteY10" fmla="*/ 272391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0898 w 340982"/>
                <a:gd name="connsiteY10" fmla="*/ 272391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0898 w 340982"/>
                <a:gd name="connsiteY10" fmla="*/ 272391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0898 w 340982"/>
                <a:gd name="connsiteY10" fmla="*/ 272391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4 w 340980"/>
                <a:gd name="connsiteY0" fmla="*/ 281639 h 339318"/>
                <a:gd name="connsiteX1" fmla="*/ 340654 w 340980"/>
                <a:gd name="connsiteY1" fmla="*/ 50344 h 339318"/>
                <a:gd name="connsiteX2" fmla="*/ 294682 w 340980"/>
                <a:gd name="connsiteY2" fmla="*/ 49727 h 339318"/>
                <a:gd name="connsiteX3" fmla="*/ 313288 w 340980"/>
                <a:gd name="connsiteY3" fmla="*/ 0 h 339318"/>
                <a:gd name="connsiteX4" fmla="*/ 255293 w 340980"/>
                <a:gd name="connsiteY4" fmla="*/ 3280 h 339318"/>
                <a:gd name="connsiteX5" fmla="*/ 221841 w 340980"/>
                <a:gd name="connsiteY5" fmla="*/ 31824 h 339318"/>
                <a:gd name="connsiteX6" fmla="*/ 152707 w 340980"/>
                <a:gd name="connsiteY6" fmla="*/ 34796 h 339318"/>
                <a:gd name="connsiteX7" fmla="*/ 41933 w 340980"/>
                <a:gd name="connsiteY7" fmla="*/ 169015 h 339318"/>
                <a:gd name="connsiteX8" fmla="*/ 23 w 340980"/>
                <a:gd name="connsiteY8" fmla="*/ 210925 h 339318"/>
                <a:gd name="connsiteX9" fmla="*/ 36218 w 340980"/>
                <a:gd name="connsiteY9" fmla="*/ 268075 h 339318"/>
                <a:gd name="connsiteX10" fmla="*/ 60896 w 340980"/>
                <a:gd name="connsiteY10" fmla="*/ 272391 h 339318"/>
                <a:gd name="connsiteX11" fmla="*/ 69496 w 340980"/>
                <a:gd name="connsiteY11" fmla="*/ 287465 h 339318"/>
                <a:gd name="connsiteX12" fmla="*/ 131049 w 340980"/>
                <a:gd name="connsiteY12" fmla="*/ 287156 h 339318"/>
                <a:gd name="connsiteX13" fmla="*/ 144550 w 340980"/>
                <a:gd name="connsiteY13" fmla="*/ 272668 h 339318"/>
                <a:gd name="connsiteX14" fmla="*/ 216434 w 340980"/>
                <a:gd name="connsiteY14" fmla="*/ 271743 h 339318"/>
                <a:gd name="connsiteX15" fmla="*/ 287401 w 340980"/>
                <a:gd name="connsiteY15" fmla="*/ 339318 h 339318"/>
                <a:gd name="connsiteX16" fmla="*/ 340654 w 340980"/>
                <a:gd name="connsiteY16" fmla="*/ 281639 h 339318"/>
                <a:gd name="connsiteX0" fmla="*/ 340650 w 340976"/>
                <a:gd name="connsiteY0" fmla="*/ 281639 h 339318"/>
                <a:gd name="connsiteX1" fmla="*/ 340650 w 340976"/>
                <a:gd name="connsiteY1" fmla="*/ 50344 h 339318"/>
                <a:gd name="connsiteX2" fmla="*/ 294678 w 340976"/>
                <a:gd name="connsiteY2" fmla="*/ 49727 h 339318"/>
                <a:gd name="connsiteX3" fmla="*/ 313284 w 340976"/>
                <a:gd name="connsiteY3" fmla="*/ 0 h 339318"/>
                <a:gd name="connsiteX4" fmla="*/ 255289 w 340976"/>
                <a:gd name="connsiteY4" fmla="*/ 3280 h 339318"/>
                <a:gd name="connsiteX5" fmla="*/ 221837 w 340976"/>
                <a:gd name="connsiteY5" fmla="*/ 31824 h 339318"/>
                <a:gd name="connsiteX6" fmla="*/ 152703 w 340976"/>
                <a:gd name="connsiteY6" fmla="*/ 34796 h 339318"/>
                <a:gd name="connsiteX7" fmla="*/ 41929 w 340976"/>
                <a:gd name="connsiteY7" fmla="*/ 169015 h 339318"/>
                <a:gd name="connsiteX8" fmla="*/ 19 w 340976"/>
                <a:gd name="connsiteY8" fmla="*/ 210925 h 339318"/>
                <a:gd name="connsiteX9" fmla="*/ 36831 w 340976"/>
                <a:gd name="connsiteY9" fmla="*/ 268692 h 339318"/>
                <a:gd name="connsiteX10" fmla="*/ 60892 w 340976"/>
                <a:gd name="connsiteY10" fmla="*/ 272391 h 339318"/>
                <a:gd name="connsiteX11" fmla="*/ 69492 w 340976"/>
                <a:gd name="connsiteY11" fmla="*/ 287465 h 339318"/>
                <a:gd name="connsiteX12" fmla="*/ 131045 w 340976"/>
                <a:gd name="connsiteY12" fmla="*/ 287156 h 339318"/>
                <a:gd name="connsiteX13" fmla="*/ 144546 w 340976"/>
                <a:gd name="connsiteY13" fmla="*/ 272668 h 339318"/>
                <a:gd name="connsiteX14" fmla="*/ 216430 w 340976"/>
                <a:gd name="connsiteY14" fmla="*/ 271743 h 339318"/>
                <a:gd name="connsiteX15" fmla="*/ 287397 w 340976"/>
                <a:gd name="connsiteY15" fmla="*/ 339318 h 339318"/>
                <a:gd name="connsiteX16" fmla="*/ 340650 w 340976"/>
                <a:gd name="connsiteY16" fmla="*/ 281639 h 339318"/>
                <a:gd name="connsiteX0" fmla="*/ 340650 w 340976"/>
                <a:gd name="connsiteY0" fmla="*/ 281639 h 339318"/>
                <a:gd name="connsiteX1" fmla="*/ 340650 w 340976"/>
                <a:gd name="connsiteY1" fmla="*/ 50344 h 339318"/>
                <a:gd name="connsiteX2" fmla="*/ 294678 w 340976"/>
                <a:gd name="connsiteY2" fmla="*/ 49727 h 339318"/>
                <a:gd name="connsiteX3" fmla="*/ 313284 w 340976"/>
                <a:gd name="connsiteY3" fmla="*/ 0 h 339318"/>
                <a:gd name="connsiteX4" fmla="*/ 255289 w 340976"/>
                <a:gd name="connsiteY4" fmla="*/ 3280 h 339318"/>
                <a:gd name="connsiteX5" fmla="*/ 221837 w 340976"/>
                <a:gd name="connsiteY5" fmla="*/ 31824 h 339318"/>
                <a:gd name="connsiteX6" fmla="*/ 152703 w 340976"/>
                <a:gd name="connsiteY6" fmla="*/ 34796 h 339318"/>
                <a:gd name="connsiteX7" fmla="*/ 41929 w 340976"/>
                <a:gd name="connsiteY7" fmla="*/ 169015 h 339318"/>
                <a:gd name="connsiteX8" fmla="*/ 19 w 340976"/>
                <a:gd name="connsiteY8" fmla="*/ 210925 h 339318"/>
                <a:gd name="connsiteX9" fmla="*/ 36831 w 340976"/>
                <a:gd name="connsiteY9" fmla="*/ 268692 h 339318"/>
                <a:gd name="connsiteX10" fmla="*/ 60892 w 340976"/>
                <a:gd name="connsiteY10" fmla="*/ 272391 h 339318"/>
                <a:gd name="connsiteX11" fmla="*/ 69492 w 340976"/>
                <a:gd name="connsiteY11" fmla="*/ 287465 h 339318"/>
                <a:gd name="connsiteX12" fmla="*/ 131045 w 340976"/>
                <a:gd name="connsiteY12" fmla="*/ 287156 h 339318"/>
                <a:gd name="connsiteX13" fmla="*/ 144546 w 340976"/>
                <a:gd name="connsiteY13" fmla="*/ 272668 h 339318"/>
                <a:gd name="connsiteX14" fmla="*/ 216430 w 340976"/>
                <a:gd name="connsiteY14" fmla="*/ 271743 h 339318"/>
                <a:gd name="connsiteX15" fmla="*/ 287397 w 340976"/>
                <a:gd name="connsiteY15" fmla="*/ 339318 h 339318"/>
                <a:gd name="connsiteX16" fmla="*/ 340650 w 340976"/>
                <a:gd name="connsiteY16" fmla="*/ 281639 h 339318"/>
                <a:gd name="connsiteX0" fmla="*/ 342817 w 343143"/>
                <a:gd name="connsiteY0" fmla="*/ 281639 h 339318"/>
                <a:gd name="connsiteX1" fmla="*/ 342817 w 343143"/>
                <a:gd name="connsiteY1" fmla="*/ 50344 h 339318"/>
                <a:gd name="connsiteX2" fmla="*/ 296845 w 343143"/>
                <a:gd name="connsiteY2" fmla="*/ 49727 h 339318"/>
                <a:gd name="connsiteX3" fmla="*/ 315451 w 343143"/>
                <a:gd name="connsiteY3" fmla="*/ 0 h 339318"/>
                <a:gd name="connsiteX4" fmla="*/ 257456 w 343143"/>
                <a:gd name="connsiteY4" fmla="*/ 3280 h 339318"/>
                <a:gd name="connsiteX5" fmla="*/ 224004 w 343143"/>
                <a:gd name="connsiteY5" fmla="*/ 31824 h 339318"/>
                <a:gd name="connsiteX6" fmla="*/ 154870 w 343143"/>
                <a:gd name="connsiteY6" fmla="*/ 34796 h 339318"/>
                <a:gd name="connsiteX7" fmla="*/ 44096 w 343143"/>
                <a:gd name="connsiteY7" fmla="*/ 169015 h 339318"/>
                <a:gd name="connsiteX8" fmla="*/ 2186 w 343143"/>
                <a:gd name="connsiteY8" fmla="*/ 210925 h 339318"/>
                <a:gd name="connsiteX9" fmla="*/ 38998 w 343143"/>
                <a:gd name="connsiteY9" fmla="*/ 268692 h 339318"/>
                <a:gd name="connsiteX10" fmla="*/ 63059 w 343143"/>
                <a:gd name="connsiteY10" fmla="*/ 272391 h 339318"/>
                <a:gd name="connsiteX11" fmla="*/ 71659 w 343143"/>
                <a:gd name="connsiteY11" fmla="*/ 287465 h 339318"/>
                <a:gd name="connsiteX12" fmla="*/ 133212 w 343143"/>
                <a:gd name="connsiteY12" fmla="*/ 287156 h 339318"/>
                <a:gd name="connsiteX13" fmla="*/ 146713 w 343143"/>
                <a:gd name="connsiteY13" fmla="*/ 272668 h 339318"/>
                <a:gd name="connsiteX14" fmla="*/ 218597 w 343143"/>
                <a:gd name="connsiteY14" fmla="*/ 271743 h 339318"/>
                <a:gd name="connsiteX15" fmla="*/ 289564 w 343143"/>
                <a:gd name="connsiteY15" fmla="*/ 339318 h 339318"/>
                <a:gd name="connsiteX16" fmla="*/ 342817 w 343143"/>
                <a:gd name="connsiteY16" fmla="*/ 281639 h 339318"/>
                <a:gd name="connsiteX0" fmla="*/ 343407 w 343733"/>
                <a:gd name="connsiteY0" fmla="*/ 281639 h 339318"/>
                <a:gd name="connsiteX1" fmla="*/ 343407 w 343733"/>
                <a:gd name="connsiteY1" fmla="*/ 50344 h 339318"/>
                <a:gd name="connsiteX2" fmla="*/ 297435 w 343733"/>
                <a:gd name="connsiteY2" fmla="*/ 49727 h 339318"/>
                <a:gd name="connsiteX3" fmla="*/ 316041 w 343733"/>
                <a:gd name="connsiteY3" fmla="*/ 0 h 339318"/>
                <a:gd name="connsiteX4" fmla="*/ 258046 w 343733"/>
                <a:gd name="connsiteY4" fmla="*/ 3280 h 339318"/>
                <a:gd name="connsiteX5" fmla="*/ 224594 w 343733"/>
                <a:gd name="connsiteY5" fmla="*/ 31824 h 339318"/>
                <a:gd name="connsiteX6" fmla="*/ 155460 w 343733"/>
                <a:gd name="connsiteY6" fmla="*/ 34796 h 339318"/>
                <a:gd name="connsiteX7" fmla="*/ 44686 w 343733"/>
                <a:gd name="connsiteY7" fmla="*/ 169015 h 339318"/>
                <a:gd name="connsiteX8" fmla="*/ 2159 w 343733"/>
                <a:gd name="connsiteY8" fmla="*/ 232195 h 339318"/>
                <a:gd name="connsiteX9" fmla="*/ 39588 w 343733"/>
                <a:gd name="connsiteY9" fmla="*/ 268692 h 339318"/>
                <a:gd name="connsiteX10" fmla="*/ 63649 w 343733"/>
                <a:gd name="connsiteY10" fmla="*/ 272391 h 339318"/>
                <a:gd name="connsiteX11" fmla="*/ 72249 w 343733"/>
                <a:gd name="connsiteY11" fmla="*/ 287465 h 339318"/>
                <a:gd name="connsiteX12" fmla="*/ 133802 w 343733"/>
                <a:gd name="connsiteY12" fmla="*/ 287156 h 339318"/>
                <a:gd name="connsiteX13" fmla="*/ 147303 w 343733"/>
                <a:gd name="connsiteY13" fmla="*/ 272668 h 339318"/>
                <a:gd name="connsiteX14" fmla="*/ 219187 w 343733"/>
                <a:gd name="connsiteY14" fmla="*/ 271743 h 339318"/>
                <a:gd name="connsiteX15" fmla="*/ 290154 w 343733"/>
                <a:gd name="connsiteY15" fmla="*/ 339318 h 339318"/>
                <a:gd name="connsiteX16" fmla="*/ 343407 w 343733"/>
                <a:gd name="connsiteY16" fmla="*/ 281639 h 339318"/>
                <a:gd name="connsiteX0" fmla="*/ 343407 w 343733"/>
                <a:gd name="connsiteY0" fmla="*/ 281639 h 339318"/>
                <a:gd name="connsiteX1" fmla="*/ 343407 w 343733"/>
                <a:gd name="connsiteY1" fmla="*/ 50344 h 339318"/>
                <a:gd name="connsiteX2" fmla="*/ 297435 w 343733"/>
                <a:gd name="connsiteY2" fmla="*/ 49727 h 339318"/>
                <a:gd name="connsiteX3" fmla="*/ 316041 w 343733"/>
                <a:gd name="connsiteY3" fmla="*/ 0 h 339318"/>
                <a:gd name="connsiteX4" fmla="*/ 258046 w 343733"/>
                <a:gd name="connsiteY4" fmla="*/ 3280 h 339318"/>
                <a:gd name="connsiteX5" fmla="*/ 224594 w 343733"/>
                <a:gd name="connsiteY5" fmla="*/ 31824 h 339318"/>
                <a:gd name="connsiteX6" fmla="*/ 155460 w 343733"/>
                <a:gd name="connsiteY6" fmla="*/ 34796 h 339318"/>
                <a:gd name="connsiteX7" fmla="*/ 44686 w 343733"/>
                <a:gd name="connsiteY7" fmla="*/ 169015 h 339318"/>
                <a:gd name="connsiteX8" fmla="*/ 2159 w 343733"/>
                <a:gd name="connsiteY8" fmla="*/ 232195 h 339318"/>
                <a:gd name="connsiteX9" fmla="*/ 39588 w 343733"/>
                <a:gd name="connsiteY9" fmla="*/ 268692 h 339318"/>
                <a:gd name="connsiteX10" fmla="*/ 63649 w 343733"/>
                <a:gd name="connsiteY10" fmla="*/ 272391 h 339318"/>
                <a:gd name="connsiteX11" fmla="*/ 72249 w 343733"/>
                <a:gd name="connsiteY11" fmla="*/ 287465 h 339318"/>
                <a:gd name="connsiteX12" fmla="*/ 133802 w 343733"/>
                <a:gd name="connsiteY12" fmla="*/ 287156 h 339318"/>
                <a:gd name="connsiteX13" fmla="*/ 147303 w 343733"/>
                <a:gd name="connsiteY13" fmla="*/ 272668 h 339318"/>
                <a:gd name="connsiteX14" fmla="*/ 219187 w 343733"/>
                <a:gd name="connsiteY14" fmla="*/ 271743 h 339318"/>
                <a:gd name="connsiteX15" fmla="*/ 290154 w 343733"/>
                <a:gd name="connsiteY15" fmla="*/ 339318 h 339318"/>
                <a:gd name="connsiteX16" fmla="*/ 343407 w 343733"/>
                <a:gd name="connsiteY16" fmla="*/ 281639 h 339318"/>
                <a:gd name="connsiteX0" fmla="*/ 341248 w 341574"/>
                <a:gd name="connsiteY0" fmla="*/ 281639 h 339318"/>
                <a:gd name="connsiteX1" fmla="*/ 341248 w 341574"/>
                <a:gd name="connsiteY1" fmla="*/ 50344 h 339318"/>
                <a:gd name="connsiteX2" fmla="*/ 295276 w 341574"/>
                <a:gd name="connsiteY2" fmla="*/ 49727 h 339318"/>
                <a:gd name="connsiteX3" fmla="*/ 313882 w 341574"/>
                <a:gd name="connsiteY3" fmla="*/ 0 h 339318"/>
                <a:gd name="connsiteX4" fmla="*/ 255887 w 341574"/>
                <a:gd name="connsiteY4" fmla="*/ 3280 h 339318"/>
                <a:gd name="connsiteX5" fmla="*/ 222435 w 341574"/>
                <a:gd name="connsiteY5" fmla="*/ 31824 h 339318"/>
                <a:gd name="connsiteX6" fmla="*/ 153301 w 341574"/>
                <a:gd name="connsiteY6" fmla="*/ 34796 h 339318"/>
                <a:gd name="connsiteX7" fmla="*/ 42527 w 341574"/>
                <a:gd name="connsiteY7" fmla="*/ 169015 h 339318"/>
                <a:gd name="connsiteX8" fmla="*/ 0 w 341574"/>
                <a:gd name="connsiteY8" fmla="*/ 232195 h 339318"/>
                <a:gd name="connsiteX9" fmla="*/ 37429 w 341574"/>
                <a:gd name="connsiteY9" fmla="*/ 268692 h 339318"/>
                <a:gd name="connsiteX10" fmla="*/ 61490 w 341574"/>
                <a:gd name="connsiteY10" fmla="*/ 272391 h 339318"/>
                <a:gd name="connsiteX11" fmla="*/ 70090 w 341574"/>
                <a:gd name="connsiteY11" fmla="*/ 287465 h 339318"/>
                <a:gd name="connsiteX12" fmla="*/ 131643 w 341574"/>
                <a:gd name="connsiteY12" fmla="*/ 287156 h 339318"/>
                <a:gd name="connsiteX13" fmla="*/ 145144 w 341574"/>
                <a:gd name="connsiteY13" fmla="*/ 272668 h 339318"/>
                <a:gd name="connsiteX14" fmla="*/ 217028 w 341574"/>
                <a:gd name="connsiteY14" fmla="*/ 271743 h 339318"/>
                <a:gd name="connsiteX15" fmla="*/ 287995 w 341574"/>
                <a:gd name="connsiteY15" fmla="*/ 339318 h 339318"/>
                <a:gd name="connsiteX16" fmla="*/ 341248 w 341574"/>
                <a:gd name="connsiteY16" fmla="*/ 281639 h 339318"/>
                <a:gd name="connsiteX0" fmla="*/ 341835 w 342161"/>
                <a:gd name="connsiteY0" fmla="*/ 281639 h 339318"/>
                <a:gd name="connsiteX1" fmla="*/ 341835 w 342161"/>
                <a:gd name="connsiteY1" fmla="*/ 50344 h 339318"/>
                <a:gd name="connsiteX2" fmla="*/ 295863 w 342161"/>
                <a:gd name="connsiteY2" fmla="*/ 49727 h 339318"/>
                <a:gd name="connsiteX3" fmla="*/ 314469 w 342161"/>
                <a:gd name="connsiteY3" fmla="*/ 0 h 339318"/>
                <a:gd name="connsiteX4" fmla="*/ 256474 w 342161"/>
                <a:gd name="connsiteY4" fmla="*/ 3280 h 339318"/>
                <a:gd name="connsiteX5" fmla="*/ 223022 w 342161"/>
                <a:gd name="connsiteY5" fmla="*/ 31824 h 339318"/>
                <a:gd name="connsiteX6" fmla="*/ 153888 w 342161"/>
                <a:gd name="connsiteY6" fmla="*/ 34796 h 339318"/>
                <a:gd name="connsiteX7" fmla="*/ 43114 w 342161"/>
                <a:gd name="connsiteY7" fmla="*/ 169015 h 339318"/>
                <a:gd name="connsiteX8" fmla="*/ 17076 w 342161"/>
                <a:gd name="connsiteY8" fmla="*/ 204252 h 339318"/>
                <a:gd name="connsiteX9" fmla="*/ 587 w 342161"/>
                <a:gd name="connsiteY9" fmla="*/ 232195 h 339318"/>
                <a:gd name="connsiteX10" fmla="*/ 38016 w 342161"/>
                <a:gd name="connsiteY10" fmla="*/ 268692 h 339318"/>
                <a:gd name="connsiteX11" fmla="*/ 62077 w 342161"/>
                <a:gd name="connsiteY11" fmla="*/ 272391 h 339318"/>
                <a:gd name="connsiteX12" fmla="*/ 70677 w 342161"/>
                <a:gd name="connsiteY12" fmla="*/ 287465 h 339318"/>
                <a:gd name="connsiteX13" fmla="*/ 132230 w 342161"/>
                <a:gd name="connsiteY13" fmla="*/ 287156 h 339318"/>
                <a:gd name="connsiteX14" fmla="*/ 145731 w 342161"/>
                <a:gd name="connsiteY14" fmla="*/ 272668 h 339318"/>
                <a:gd name="connsiteX15" fmla="*/ 217615 w 342161"/>
                <a:gd name="connsiteY15" fmla="*/ 271743 h 339318"/>
                <a:gd name="connsiteX16" fmla="*/ 288582 w 342161"/>
                <a:gd name="connsiteY16" fmla="*/ 339318 h 339318"/>
                <a:gd name="connsiteX17" fmla="*/ 341835 w 342161"/>
                <a:gd name="connsiteY17" fmla="*/ 281639 h 339318"/>
                <a:gd name="connsiteX0" fmla="*/ 342829 w 343155"/>
                <a:gd name="connsiteY0" fmla="*/ 281639 h 339318"/>
                <a:gd name="connsiteX1" fmla="*/ 342829 w 343155"/>
                <a:gd name="connsiteY1" fmla="*/ 50344 h 339318"/>
                <a:gd name="connsiteX2" fmla="*/ 296857 w 343155"/>
                <a:gd name="connsiteY2" fmla="*/ 49727 h 339318"/>
                <a:gd name="connsiteX3" fmla="*/ 315463 w 343155"/>
                <a:gd name="connsiteY3" fmla="*/ 0 h 339318"/>
                <a:gd name="connsiteX4" fmla="*/ 257468 w 343155"/>
                <a:gd name="connsiteY4" fmla="*/ 3280 h 339318"/>
                <a:gd name="connsiteX5" fmla="*/ 224016 w 343155"/>
                <a:gd name="connsiteY5" fmla="*/ 31824 h 339318"/>
                <a:gd name="connsiteX6" fmla="*/ 154882 w 343155"/>
                <a:gd name="connsiteY6" fmla="*/ 34796 h 339318"/>
                <a:gd name="connsiteX7" fmla="*/ 44108 w 343155"/>
                <a:gd name="connsiteY7" fmla="*/ 169015 h 339318"/>
                <a:gd name="connsiteX8" fmla="*/ 7589 w 343155"/>
                <a:gd name="connsiteY8" fmla="*/ 198703 h 339318"/>
                <a:gd name="connsiteX9" fmla="*/ 1581 w 343155"/>
                <a:gd name="connsiteY9" fmla="*/ 232195 h 339318"/>
                <a:gd name="connsiteX10" fmla="*/ 39010 w 343155"/>
                <a:gd name="connsiteY10" fmla="*/ 268692 h 339318"/>
                <a:gd name="connsiteX11" fmla="*/ 63071 w 343155"/>
                <a:gd name="connsiteY11" fmla="*/ 272391 h 339318"/>
                <a:gd name="connsiteX12" fmla="*/ 71671 w 343155"/>
                <a:gd name="connsiteY12" fmla="*/ 287465 h 339318"/>
                <a:gd name="connsiteX13" fmla="*/ 133224 w 343155"/>
                <a:gd name="connsiteY13" fmla="*/ 287156 h 339318"/>
                <a:gd name="connsiteX14" fmla="*/ 146725 w 343155"/>
                <a:gd name="connsiteY14" fmla="*/ 272668 h 339318"/>
                <a:gd name="connsiteX15" fmla="*/ 218609 w 343155"/>
                <a:gd name="connsiteY15" fmla="*/ 271743 h 339318"/>
                <a:gd name="connsiteX16" fmla="*/ 289576 w 343155"/>
                <a:gd name="connsiteY16" fmla="*/ 339318 h 339318"/>
                <a:gd name="connsiteX17" fmla="*/ 342829 w 343155"/>
                <a:gd name="connsiteY17" fmla="*/ 281639 h 339318"/>
                <a:gd name="connsiteX0" fmla="*/ 342829 w 343155"/>
                <a:gd name="connsiteY0" fmla="*/ 281639 h 339318"/>
                <a:gd name="connsiteX1" fmla="*/ 342829 w 343155"/>
                <a:gd name="connsiteY1" fmla="*/ 50344 h 339318"/>
                <a:gd name="connsiteX2" fmla="*/ 296857 w 343155"/>
                <a:gd name="connsiteY2" fmla="*/ 49727 h 339318"/>
                <a:gd name="connsiteX3" fmla="*/ 315463 w 343155"/>
                <a:gd name="connsiteY3" fmla="*/ 0 h 339318"/>
                <a:gd name="connsiteX4" fmla="*/ 257468 w 343155"/>
                <a:gd name="connsiteY4" fmla="*/ 3280 h 339318"/>
                <a:gd name="connsiteX5" fmla="*/ 224016 w 343155"/>
                <a:gd name="connsiteY5" fmla="*/ 31824 h 339318"/>
                <a:gd name="connsiteX6" fmla="*/ 154882 w 343155"/>
                <a:gd name="connsiteY6" fmla="*/ 34796 h 339318"/>
                <a:gd name="connsiteX7" fmla="*/ 28386 w 343155"/>
                <a:gd name="connsiteY7" fmla="*/ 188128 h 339318"/>
                <a:gd name="connsiteX8" fmla="*/ 7589 w 343155"/>
                <a:gd name="connsiteY8" fmla="*/ 198703 h 339318"/>
                <a:gd name="connsiteX9" fmla="*/ 1581 w 343155"/>
                <a:gd name="connsiteY9" fmla="*/ 232195 h 339318"/>
                <a:gd name="connsiteX10" fmla="*/ 39010 w 343155"/>
                <a:gd name="connsiteY10" fmla="*/ 268692 h 339318"/>
                <a:gd name="connsiteX11" fmla="*/ 63071 w 343155"/>
                <a:gd name="connsiteY11" fmla="*/ 272391 h 339318"/>
                <a:gd name="connsiteX12" fmla="*/ 71671 w 343155"/>
                <a:gd name="connsiteY12" fmla="*/ 287465 h 339318"/>
                <a:gd name="connsiteX13" fmla="*/ 133224 w 343155"/>
                <a:gd name="connsiteY13" fmla="*/ 287156 h 339318"/>
                <a:gd name="connsiteX14" fmla="*/ 146725 w 343155"/>
                <a:gd name="connsiteY14" fmla="*/ 272668 h 339318"/>
                <a:gd name="connsiteX15" fmla="*/ 218609 w 343155"/>
                <a:gd name="connsiteY15" fmla="*/ 271743 h 339318"/>
                <a:gd name="connsiteX16" fmla="*/ 289576 w 343155"/>
                <a:gd name="connsiteY16" fmla="*/ 339318 h 339318"/>
                <a:gd name="connsiteX17" fmla="*/ 342829 w 343155"/>
                <a:gd name="connsiteY17" fmla="*/ 281639 h 339318"/>
                <a:gd name="connsiteX0" fmla="*/ 341662 w 341988"/>
                <a:gd name="connsiteY0" fmla="*/ 281639 h 339318"/>
                <a:gd name="connsiteX1" fmla="*/ 341662 w 341988"/>
                <a:gd name="connsiteY1" fmla="*/ 50344 h 339318"/>
                <a:gd name="connsiteX2" fmla="*/ 295690 w 341988"/>
                <a:gd name="connsiteY2" fmla="*/ 49727 h 339318"/>
                <a:gd name="connsiteX3" fmla="*/ 314296 w 341988"/>
                <a:gd name="connsiteY3" fmla="*/ 0 h 339318"/>
                <a:gd name="connsiteX4" fmla="*/ 256301 w 341988"/>
                <a:gd name="connsiteY4" fmla="*/ 3280 h 339318"/>
                <a:gd name="connsiteX5" fmla="*/ 222849 w 341988"/>
                <a:gd name="connsiteY5" fmla="*/ 31824 h 339318"/>
                <a:gd name="connsiteX6" fmla="*/ 153715 w 341988"/>
                <a:gd name="connsiteY6" fmla="*/ 34796 h 339318"/>
                <a:gd name="connsiteX7" fmla="*/ 27219 w 341988"/>
                <a:gd name="connsiteY7" fmla="*/ 188128 h 339318"/>
                <a:gd name="connsiteX8" fmla="*/ 414 w 341988"/>
                <a:gd name="connsiteY8" fmla="*/ 232195 h 339318"/>
                <a:gd name="connsiteX9" fmla="*/ 37843 w 341988"/>
                <a:gd name="connsiteY9" fmla="*/ 268692 h 339318"/>
                <a:gd name="connsiteX10" fmla="*/ 61904 w 341988"/>
                <a:gd name="connsiteY10" fmla="*/ 272391 h 339318"/>
                <a:gd name="connsiteX11" fmla="*/ 70504 w 341988"/>
                <a:gd name="connsiteY11" fmla="*/ 287465 h 339318"/>
                <a:gd name="connsiteX12" fmla="*/ 132057 w 341988"/>
                <a:gd name="connsiteY12" fmla="*/ 287156 h 339318"/>
                <a:gd name="connsiteX13" fmla="*/ 145558 w 341988"/>
                <a:gd name="connsiteY13" fmla="*/ 272668 h 339318"/>
                <a:gd name="connsiteX14" fmla="*/ 217442 w 341988"/>
                <a:gd name="connsiteY14" fmla="*/ 271743 h 339318"/>
                <a:gd name="connsiteX15" fmla="*/ 288409 w 341988"/>
                <a:gd name="connsiteY15" fmla="*/ 339318 h 339318"/>
                <a:gd name="connsiteX16" fmla="*/ 341662 w 341988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54277 w 342550"/>
                <a:gd name="connsiteY6" fmla="*/ 34796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54277 w 342550"/>
                <a:gd name="connsiteY6" fmla="*/ 34796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54277 w 342550"/>
                <a:gd name="connsiteY6" fmla="*/ 34796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2550" h="339318">
                  <a:moveTo>
                    <a:pt x="342224" y="281639"/>
                  </a:moveTo>
                  <a:cubicBezTo>
                    <a:pt x="343354" y="205774"/>
                    <a:pt x="341094" y="126209"/>
                    <a:pt x="342224" y="50344"/>
                  </a:cubicBezTo>
                  <a:lnTo>
                    <a:pt x="296252" y="49727"/>
                  </a:lnTo>
                  <a:lnTo>
                    <a:pt x="314858" y="0"/>
                  </a:lnTo>
                  <a:cubicBezTo>
                    <a:pt x="285552" y="869"/>
                    <a:pt x="265734" y="-843"/>
                    <a:pt x="256863" y="3280"/>
                  </a:cubicBezTo>
                  <a:cubicBezTo>
                    <a:pt x="241519" y="8327"/>
                    <a:pt x="227701" y="27052"/>
                    <a:pt x="223411" y="31824"/>
                  </a:cubicBezTo>
                  <a:cubicBezTo>
                    <a:pt x="200366" y="32815"/>
                    <a:pt x="150814" y="30323"/>
                    <a:pt x="144104" y="38495"/>
                  </a:cubicBezTo>
                  <a:cubicBezTo>
                    <a:pt x="113657" y="61464"/>
                    <a:pt x="48399" y="162934"/>
                    <a:pt x="27781" y="188128"/>
                  </a:cubicBezTo>
                  <a:cubicBezTo>
                    <a:pt x="-3626" y="194209"/>
                    <a:pt x="-795" y="218768"/>
                    <a:pt x="976" y="232195"/>
                  </a:cubicBezTo>
                  <a:cubicBezTo>
                    <a:pt x="6908" y="239252"/>
                    <a:pt x="30179" y="267253"/>
                    <a:pt x="38405" y="268692"/>
                  </a:cubicBezTo>
                  <a:cubicBezTo>
                    <a:pt x="48275" y="272391"/>
                    <a:pt x="54446" y="271158"/>
                    <a:pt x="62466" y="272391"/>
                  </a:cubicBezTo>
                  <a:cubicBezTo>
                    <a:pt x="65847" y="278546"/>
                    <a:pt x="67069" y="280694"/>
                    <a:pt x="71066" y="287465"/>
                  </a:cubicBezTo>
                  <a:lnTo>
                    <a:pt x="132619" y="287156"/>
                  </a:lnTo>
                  <a:lnTo>
                    <a:pt x="146120" y="272668"/>
                  </a:lnTo>
                  <a:lnTo>
                    <a:pt x="218004" y="271743"/>
                  </a:lnTo>
                  <a:lnTo>
                    <a:pt x="288971" y="339318"/>
                  </a:lnTo>
                  <a:lnTo>
                    <a:pt x="342224" y="281639"/>
                  </a:lnTo>
                  <a:close/>
                </a:path>
              </a:pathLst>
            </a:cu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300" name="Graphic 299">
              <a:extLst>
                <a:ext uri="{FF2B5EF4-FFF2-40B4-BE49-F238E27FC236}">
                  <a16:creationId xmlns:a16="http://schemas.microsoft.com/office/drawing/2014/main" id="{BEC05495-DAC6-4112-939B-E8A037784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flipH="1">
              <a:off x="4757262" y="2348377"/>
              <a:ext cx="343641" cy="339623"/>
            </a:xfrm>
            <a:prstGeom prst="rect">
              <a:avLst/>
            </a:prstGeom>
          </p:spPr>
        </p:pic>
        <p:sp>
          <p:nvSpPr>
            <p:cNvPr id="301" name="object 24">
              <a:extLst>
                <a:ext uri="{FF2B5EF4-FFF2-40B4-BE49-F238E27FC236}">
                  <a16:creationId xmlns:a16="http://schemas.microsoft.com/office/drawing/2014/main" id="{E7D89E56-6056-404D-977C-1ADFBB0E3AD2}"/>
                </a:ext>
              </a:extLst>
            </p:cNvPr>
            <p:cNvSpPr txBox="1"/>
            <p:nvPr/>
          </p:nvSpPr>
          <p:spPr>
            <a:xfrm>
              <a:off x="4400347" y="2311763"/>
              <a:ext cx="544909" cy="17859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6851" rIns="0" bIns="0" rtlCol="0">
              <a:spAutoFit/>
            </a:bodyPr>
            <a:lstStyle/>
            <a:p>
              <a:pPr marL="16851" marR="0" lvl="0" indent="0" algn="ctr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CH</a:t>
              </a:r>
              <a:r>
                <a:rPr kumimoji="0" lang="en-GB" sz="1050" b="0" i="0" u="none" strike="noStrike" kern="1200" cap="none" spc="0" normalizeH="0" baseline="-2500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02" name="object 24">
              <a:extLst>
                <a:ext uri="{FF2B5EF4-FFF2-40B4-BE49-F238E27FC236}">
                  <a16:creationId xmlns:a16="http://schemas.microsoft.com/office/drawing/2014/main" id="{81F281BA-686D-4326-AD59-301AA934C147}"/>
                </a:ext>
              </a:extLst>
            </p:cNvPr>
            <p:cNvSpPr txBox="1"/>
            <p:nvPr/>
          </p:nvSpPr>
          <p:spPr>
            <a:xfrm>
              <a:off x="4321755" y="2141546"/>
              <a:ext cx="544909" cy="17859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6851" rIns="0" bIns="0" rtlCol="0">
              <a:spAutoFit/>
            </a:bodyPr>
            <a:lstStyle/>
            <a:p>
              <a:pPr marL="16851" marR="0" lvl="0" indent="0" algn="ctr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N</a:t>
              </a:r>
              <a:r>
                <a:rPr kumimoji="0" lang="en-GB" sz="1050" b="0" i="0" u="none" strike="noStrike" kern="1200" cap="none" spc="0" normalizeH="0" baseline="-2500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O</a:t>
              </a:r>
              <a:endParaRPr kumimoji="0" lang="en-GB" sz="1050" b="0" i="0" u="none" strike="noStrike" kern="1200" cap="none" spc="0" normalizeH="0" baseline="-25000" noProof="0">
                <a:ln>
                  <a:noFill/>
                </a:ln>
                <a:solidFill>
                  <a:srgbClr val="45AC34"/>
                </a:solidFill>
                <a:effectLst/>
                <a:uLnTx/>
                <a:uFillTx/>
                <a:latin typeface="Fira San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3" name="object 24">
              <a:extLst>
                <a:ext uri="{FF2B5EF4-FFF2-40B4-BE49-F238E27FC236}">
                  <a16:creationId xmlns:a16="http://schemas.microsoft.com/office/drawing/2014/main" id="{801EFB42-FD03-4440-A48B-0A7DCCF652C4}"/>
                </a:ext>
              </a:extLst>
            </p:cNvPr>
            <p:cNvSpPr txBox="1"/>
            <p:nvPr/>
          </p:nvSpPr>
          <p:spPr>
            <a:xfrm>
              <a:off x="4339058" y="1652373"/>
              <a:ext cx="544909" cy="17859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6851" rIns="0" bIns="0" rtlCol="0">
              <a:spAutoFit/>
            </a:bodyPr>
            <a:lstStyle/>
            <a:p>
              <a:pPr marL="16851" marR="0" lvl="0" indent="0" algn="ctr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NH</a:t>
              </a:r>
              <a:r>
                <a:rPr kumimoji="0" lang="en-GB" sz="1050" b="0" i="0" u="none" strike="noStrike" kern="1200" cap="none" spc="0" normalizeH="0" baseline="-2500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304" name="object 24">
              <a:extLst>
                <a:ext uri="{FF2B5EF4-FFF2-40B4-BE49-F238E27FC236}">
                  <a16:creationId xmlns:a16="http://schemas.microsoft.com/office/drawing/2014/main" id="{77E20D5E-DB86-484A-9CCF-C01FB8AB2718}"/>
                </a:ext>
              </a:extLst>
            </p:cNvPr>
            <p:cNvSpPr txBox="1"/>
            <p:nvPr/>
          </p:nvSpPr>
          <p:spPr>
            <a:xfrm>
              <a:off x="4311135" y="2469900"/>
              <a:ext cx="544909" cy="17859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6851" rIns="0" bIns="0" rtlCol="0">
              <a:spAutoFit/>
            </a:bodyPr>
            <a:lstStyle/>
            <a:p>
              <a:pPr marL="16851" marR="0" lvl="0" indent="0" algn="ctr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PO</a:t>
              </a:r>
              <a:r>
                <a:rPr kumimoji="0" lang="en-GB" sz="1050" b="0" i="0" u="none" strike="noStrike" kern="1200" cap="none" spc="0" normalizeH="0" baseline="-2500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0213FA11-B27D-419D-87D3-2D9CEE5CEC97}"/>
                </a:ext>
              </a:extLst>
            </p:cNvPr>
            <p:cNvSpPr/>
            <p:nvPr/>
          </p:nvSpPr>
          <p:spPr>
            <a:xfrm>
              <a:off x="4706849" y="1980877"/>
              <a:ext cx="384621" cy="154028"/>
            </a:xfrm>
            <a:custGeom>
              <a:avLst/>
              <a:gdLst>
                <a:gd name="connsiteX0" fmla="*/ 0 w 384810"/>
                <a:gd name="connsiteY0" fmla="*/ 142875 h 142875"/>
                <a:gd name="connsiteX1" fmla="*/ 384810 w 384810"/>
                <a:gd name="connsiteY1" fmla="*/ 142875 h 142875"/>
                <a:gd name="connsiteX2" fmla="*/ 340995 w 384810"/>
                <a:gd name="connsiteY2" fmla="*/ 76200 h 142875"/>
                <a:gd name="connsiteX3" fmla="*/ 264795 w 384810"/>
                <a:gd name="connsiteY3" fmla="*/ 0 h 142875"/>
                <a:gd name="connsiteX4" fmla="*/ 180975 w 384810"/>
                <a:gd name="connsiteY4" fmla="*/ 0 h 142875"/>
                <a:gd name="connsiteX5" fmla="*/ 123825 w 384810"/>
                <a:gd name="connsiteY5" fmla="*/ 0 h 142875"/>
                <a:gd name="connsiteX6" fmla="*/ 81915 w 384810"/>
                <a:gd name="connsiteY6" fmla="*/ 41910 h 142875"/>
                <a:gd name="connsiteX7" fmla="*/ 55245 w 384810"/>
                <a:gd name="connsiteY7" fmla="*/ 68580 h 142875"/>
                <a:gd name="connsiteX8" fmla="*/ 0 w 384810"/>
                <a:gd name="connsiteY8" fmla="*/ 142875 h 142875"/>
                <a:gd name="connsiteX0" fmla="*/ 0 w 404755"/>
                <a:gd name="connsiteY0" fmla="*/ 142875 h 142875"/>
                <a:gd name="connsiteX1" fmla="*/ 384810 w 404755"/>
                <a:gd name="connsiteY1" fmla="*/ 142875 h 142875"/>
                <a:gd name="connsiteX2" fmla="*/ 340995 w 404755"/>
                <a:gd name="connsiteY2" fmla="*/ 76200 h 142875"/>
                <a:gd name="connsiteX3" fmla="*/ 264795 w 404755"/>
                <a:gd name="connsiteY3" fmla="*/ 0 h 142875"/>
                <a:gd name="connsiteX4" fmla="*/ 180975 w 404755"/>
                <a:gd name="connsiteY4" fmla="*/ 0 h 142875"/>
                <a:gd name="connsiteX5" fmla="*/ 123825 w 404755"/>
                <a:gd name="connsiteY5" fmla="*/ 0 h 142875"/>
                <a:gd name="connsiteX6" fmla="*/ 81915 w 404755"/>
                <a:gd name="connsiteY6" fmla="*/ 41910 h 142875"/>
                <a:gd name="connsiteX7" fmla="*/ 55245 w 404755"/>
                <a:gd name="connsiteY7" fmla="*/ 68580 h 142875"/>
                <a:gd name="connsiteX8" fmla="*/ 0 w 404755"/>
                <a:gd name="connsiteY8" fmla="*/ 142875 h 142875"/>
                <a:gd name="connsiteX0" fmla="*/ 0 w 404755"/>
                <a:gd name="connsiteY0" fmla="*/ 142875 h 142875"/>
                <a:gd name="connsiteX1" fmla="*/ 384810 w 404755"/>
                <a:gd name="connsiteY1" fmla="*/ 142875 h 142875"/>
                <a:gd name="connsiteX2" fmla="*/ 340995 w 404755"/>
                <a:gd name="connsiteY2" fmla="*/ 76200 h 142875"/>
                <a:gd name="connsiteX3" fmla="*/ 264795 w 404755"/>
                <a:gd name="connsiteY3" fmla="*/ 0 h 142875"/>
                <a:gd name="connsiteX4" fmla="*/ 180975 w 404755"/>
                <a:gd name="connsiteY4" fmla="*/ 0 h 142875"/>
                <a:gd name="connsiteX5" fmla="*/ 123825 w 404755"/>
                <a:gd name="connsiteY5" fmla="*/ 0 h 142875"/>
                <a:gd name="connsiteX6" fmla="*/ 81915 w 404755"/>
                <a:gd name="connsiteY6" fmla="*/ 41910 h 142875"/>
                <a:gd name="connsiteX7" fmla="*/ 55245 w 404755"/>
                <a:gd name="connsiteY7" fmla="*/ 68580 h 142875"/>
                <a:gd name="connsiteX8" fmla="*/ 0 w 404755"/>
                <a:gd name="connsiteY8" fmla="*/ 142875 h 142875"/>
                <a:gd name="connsiteX0" fmla="*/ 0 w 404163"/>
                <a:gd name="connsiteY0" fmla="*/ 147955 h 147955"/>
                <a:gd name="connsiteX1" fmla="*/ 384810 w 404163"/>
                <a:gd name="connsiteY1" fmla="*/ 147955 h 147955"/>
                <a:gd name="connsiteX2" fmla="*/ 340995 w 404163"/>
                <a:gd name="connsiteY2" fmla="*/ 81280 h 147955"/>
                <a:gd name="connsiteX3" fmla="*/ 290195 w 404163"/>
                <a:gd name="connsiteY3" fmla="*/ 0 h 147955"/>
                <a:gd name="connsiteX4" fmla="*/ 180975 w 404163"/>
                <a:gd name="connsiteY4" fmla="*/ 5080 h 147955"/>
                <a:gd name="connsiteX5" fmla="*/ 123825 w 404163"/>
                <a:gd name="connsiteY5" fmla="*/ 5080 h 147955"/>
                <a:gd name="connsiteX6" fmla="*/ 81915 w 404163"/>
                <a:gd name="connsiteY6" fmla="*/ 46990 h 147955"/>
                <a:gd name="connsiteX7" fmla="*/ 55245 w 404163"/>
                <a:gd name="connsiteY7" fmla="*/ 73660 h 147955"/>
                <a:gd name="connsiteX8" fmla="*/ 0 w 404163"/>
                <a:gd name="connsiteY8" fmla="*/ 147955 h 147955"/>
                <a:gd name="connsiteX0" fmla="*/ 0 w 404554"/>
                <a:gd name="connsiteY0" fmla="*/ 152800 h 152800"/>
                <a:gd name="connsiteX1" fmla="*/ 384810 w 404554"/>
                <a:gd name="connsiteY1" fmla="*/ 152800 h 152800"/>
                <a:gd name="connsiteX2" fmla="*/ 343535 w 404554"/>
                <a:gd name="connsiteY2" fmla="*/ 86125 h 152800"/>
                <a:gd name="connsiteX3" fmla="*/ 290195 w 404554"/>
                <a:gd name="connsiteY3" fmla="*/ 4845 h 152800"/>
                <a:gd name="connsiteX4" fmla="*/ 180975 w 404554"/>
                <a:gd name="connsiteY4" fmla="*/ 9925 h 152800"/>
                <a:gd name="connsiteX5" fmla="*/ 123825 w 404554"/>
                <a:gd name="connsiteY5" fmla="*/ 9925 h 152800"/>
                <a:gd name="connsiteX6" fmla="*/ 81915 w 404554"/>
                <a:gd name="connsiteY6" fmla="*/ 51835 h 152800"/>
                <a:gd name="connsiteX7" fmla="*/ 55245 w 404554"/>
                <a:gd name="connsiteY7" fmla="*/ 78505 h 152800"/>
                <a:gd name="connsiteX8" fmla="*/ 0 w 404554"/>
                <a:gd name="connsiteY8" fmla="*/ 152800 h 152800"/>
                <a:gd name="connsiteX0" fmla="*/ 0 w 406913"/>
                <a:gd name="connsiteY0" fmla="*/ 152800 h 152800"/>
                <a:gd name="connsiteX1" fmla="*/ 384810 w 406913"/>
                <a:gd name="connsiteY1" fmla="*/ 152800 h 152800"/>
                <a:gd name="connsiteX2" fmla="*/ 343535 w 406913"/>
                <a:gd name="connsiteY2" fmla="*/ 86125 h 152800"/>
                <a:gd name="connsiteX3" fmla="*/ 290195 w 406913"/>
                <a:gd name="connsiteY3" fmla="*/ 4845 h 152800"/>
                <a:gd name="connsiteX4" fmla="*/ 180975 w 406913"/>
                <a:gd name="connsiteY4" fmla="*/ 9925 h 152800"/>
                <a:gd name="connsiteX5" fmla="*/ 123825 w 406913"/>
                <a:gd name="connsiteY5" fmla="*/ 9925 h 152800"/>
                <a:gd name="connsiteX6" fmla="*/ 81915 w 406913"/>
                <a:gd name="connsiteY6" fmla="*/ 51835 h 152800"/>
                <a:gd name="connsiteX7" fmla="*/ 55245 w 406913"/>
                <a:gd name="connsiteY7" fmla="*/ 78505 h 152800"/>
                <a:gd name="connsiteX8" fmla="*/ 0 w 406913"/>
                <a:gd name="connsiteY8" fmla="*/ 152800 h 152800"/>
                <a:gd name="connsiteX0" fmla="*/ 16758 w 423671"/>
                <a:gd name="connsiteY0" fmla="*/ 152800 h 152800"/>
                <a:gd name="connsiteX1" fmla="*/ 401568 w 423671"/>
                <a:gd name="connsiteY1" fmla="*/ 152800 h 152800"/>
                <a:gd name="connsiteX2" fmla="*/ 360293 w 423671"/>
                <a:gd name="connsiteY2" fmla="*/ 86125 h 152800"/>
                <a:gd name="connsiteX3" fmla="*/ 306953 w 423671"/>
                <a:gd name="connsiteY3" fmla="*/ 4845 h 152800"/>
                <a:gd name="connsiteX4" fmla="*/ 197733 w 423671"/>
                <a:gd name="connsiteY4" fmla="*/ 9925 h 152800"/>
                <a:gd name="connsiteX5" fmla="*/ 140583 w 423671"/>
                <a:gd name="connsiteY5" fmla="*/ 9925 h 152800"/>
                <a:gd name="connsiteX6" fmla="*/ 98673 w 423671"/>
                <a:gd name="connsiteY6" fmla="*/ 51835 h 152800"/>
                <a:gd name="connsiteX7" fmla="*/ 72003 w 423671"/>
                <a:gd name="connsiteY7" fmla="*/ 78505 h 152800"/>
                <a:gd name="connsiteX8" fmla="*/ 16758 w 423671"/>
                <a:gd name="connsiteY8" fmla="*/ 152800 h 152800"/>
                <a:gd name="connsiteX0" fmla="*/ 14733 w 421646"/>
                <a:gd name="connsiteY0" fmla="*/ 152800 h 152800"/>
                <a:gd name="connsiteX1" fmla="*/ 399543 w 421646"/>
                <a:gd name="connsiteY1" fmla="*/ 152800 h 152800"/>
                <a:gd name="connsiteX2" fmla="*/ 358268 w 421646"/>
                <a:gd name="connsiteY2" fmla="*/ 86125 h 152800"/>
                <a:gd name="connsiteX3" fmla="*/ 304928 w 421646"/>
                <a:gd name="connsiteY3" fmla="*/ 4845 h 152800"/>
                <a:gd name="connsiteX4" fmla="*/ 195708 w 421646"/>
                <a:gd name="connsiteY4" fmla="*/ 9925 h 152800"/>
                <a:gd name="connsiteX5" fmla="*/ 138558 w 421646"/>
                <a:gd name="connsiteY5" fmla="*/ 9925 h 152800"/>
                <a:gd name="connsiteX6" fmla="*/ 96648 w 421646"/>
                <a:gd name="connsiteY6" fmla="*/ 51835 h 152800"/>
                <a:gd name="connsiteX7" fmla="*/ 69978 w 421646"/>
                <a:gd name="connsiteY7" fmla="*/ 78505 h 152800"/>
                <a:gd name="connsiteX8" fmla="*/ 14733 w 421646"/>
                <a:gd name="connsiteY8" fmla="*/ 152800 h 152800"/>
                <a:gd name="connsiteX0" fmla="*/ 14733 w 422876"/>
                <a:gd name="connsiteY0" fmla="*/ 152938 h 152938"/>
                <a:gd name="connsiteX1" fmla="*/ 399543 w 422876"/>
                <a:gd name="connsiteY1" fmla="*/ 152938 h 152938"/>
                <a:gd name="connsiteX2" fmla="*/ 364388 w 422876"/>
                <a:gd name="connsiteY2" fmla="*/ 88168 h 152938"/>
                <a:gd name="connsiteX3" fmla="*/ 304928 w 422876"/>
                <a:gd name="connsiteY3" fmla="*/ 4983 h 152938"/>
                <a:gd name="connsiteX4" fmla="*/ 195708 w 422876"/>
                <a:gd name="connsiteY4" fmla="*/ 10063 h 152938"/>
                <a:gd name="connsiteX5" fmla="*/ 138558 w 422876"/>
                <a:gd name="connsiteY5" fmla="*/ 10063 h 152938"/>
                <a:gd name="connsiteX6" fmla="*/ 96648 w 422876"/>
                <a:gd name="connsiteY6" fmla="*/ 51973 h 152938"/>
                <a:gd name="connsiteX7" fmla="*/ 69978 w 422876"/>
                <a:gd name="connsiteY7" fmla="*/ 78643 h 152938"/>
                <a:gd name="connsiteX8" fmla="*/ 14733 w 422876"/>
                <a:gd name="connsiteY8" fmla="*/ 152938 h 152938"/>
                <a:gd name="connsiteX0" fmla="*/ 14733 w 422876"/>
                <a:gd name="connsiteY0" fmla="*/ 152938 h 152938"/>
                <a:gd name="connsiteX1" fmla="*/ 399543 w 422876"/>
                <a:gd name="connsiteY1" fmla="*/ 152938 h 152938"/>
                <a:gd name="connsiteX2" fmla="*/ 364388 w 422876"/>
                <a:gd name="connsiteY2" fmla="*/ 88168 h 152938"/>
                <a:gd name="connsiteX3" fmla="*/ 304928 w 422876"/>
                <a:gd name="connsiteY3" fmla="*/ 4983 h 152938"/>
                <a:gd name="connsiteX4" fmla="*/ 195708 w 422876"/>
                <a:gd name="connsiteY4" fmla="*/ 10063 h 152938"/>
                <a:gd name="connsiteX5" fmla="*/ 138558 w 422876"/>
                <a:gd name="connsiteY5" fmla="*/ 10063 h 152938"/>
                <a:gd name="connsiteX6" fmla="*/ 96648 w 422876"/>
                <a:gd name="connsiteY6" fmla="*/ 51973 h 152938"/>
                <a:gd name="connsiteX7" fmla="*/ 69978 w 422876"/>
                <a:gd name="connsiteY7" fmla="*/ 78643 h 152938"/>
                <a:gd name="connsiteX8" fmla="*/ 14733 w 422876"/>
                <a:gd name="connsiteY8" fmla="*/ 152938 h 152938"/>
                <a:gd name="connsiteX0" fmla="*/ 14733 w 422876"/>
                <a:gd name="connsiteY0" fmla="*/ 150458 h 150458"/>
                <a:gd name="connsiteX1" fmla="*/ 399543 w 422876"/>
                <a:gd name="connsiteY1" fmla="*/ 150458 h 150458"/>
                <a:gd name="connsiteX2" fmla="*/ 364388 w 422876"/>
                <a:gd name="connsiteY2" fmla="*/ 85688 h 150458"/>
                <a:gd name="connsiteX3" fmla="*/ 304928 w 422876"/>
                <a:gd name="connsiteY3" fmla="*/ 2503 h 150458"/>
                <a:gd name="connsiteX4" fmla="*/ 195708 w 422876"/>
                <a:gd name="connsiteY4" fmla="*/ 20918 h 150458"/>
                <a:gd name="connsiteX5" fmla="*/ 138558 w 422876"/>
                <a:gd name="connsiteY5" fmla="*/ 7583 h 150458"/>
                <a:gd name="connsiteX6" fmla="*/ 96648 w 422876"/>
                <a:gd name="connsiteY6" fmla="*/ 49493 h 150458"/>
                <a:gd name="connsiteX7" fmla="*/ 69978 w 422876"/>
                <a:gd name="connsiteY7" fmla="*/ 76163 h 150458"/>
                <a:gd name="connsiteX8" fmla="*/ 14733 w 422876"/>
                <a:gd name="connsiteY8" fmla="*/ 150458 h 150458"/>
                <a:gd name="connsiteX0" fmla="*/ 14733 w 422876"/>
                <a:gd name="connsiteY0" fmla="*/ 150458 h 150458"/>
                <a:gd name="connsiteX1" fmla="*/ 399543 w 422876"/>
                <a:gd name="connsiteY1" fmla="*/ 150458 h 150458"/>
                <a:gd name="connsiteX2" fmla="*/ 364388 w 422876"/>
                <a:gd name="connsiteY2" fmla="*/ 85688 h 150458"/>
                <a:gd name="connsiteX3" fmla="*/ 304928 w 422876"/>
                <a:gd name="connsiteY3" fmla="*/ 2503 h 150458"/>
                <a:gd name="connsiteX4" fmla="*/ 195708 w 422876"/>
                <a:gd name="connsiteY4" fmla="*/ 20918 h 150458"/>
                <a:gd name="connsiteX5" fmla="*/ 138558 w 422876"/>
                <a:gd name="connsiteY5" fmla="*/ 7583 h 150458"/>
                <a:gd name="connsiteX6" fmla="*/ 94608 w 422876"/>
                <a:gd name="connsiteY6" fmla="*/ 62828 h 150458"/>
                <a:gd name="connsiteX7" fmla="*/ 69978 w 422876"/>
                <a:gd name="connsiteY7" fmla="*/ 76163 h 150458"/>
                <a:gd name="connsiteX8" fmla="*/ 14733 w 422876"/>
                <a:gd name="connsiteY8" fmla="*/ 150458 h 150458"/>
                <a:gd name="connsiteX0" fmla="*/ 14733 w 422876"/>
                <a:gd name="connsiteY0" fmla="*/ 150458 h 150458"/>
                <a:gd name="connsiteX1" fmla="*/ 399543 w 422876"/>
                <a:gd name="connsiteY1" fmla="*/ 150458 h 150458"/>
                <a:gd name="connsiteX2" fmla="*/ 364388 w 422876"/>
                <a:gd name="connsiteY2" fmla="*/ 85688 h 150458"/>
                <a:gd name="connsiteX3" fmla="*/ 304928 w 422876"/>
                <a:gd name="connsiteY3" fmla="*/ 2503 h 150458"/>
                <a:gd name="connsiteX4" fmla="*/ 195708 w 422876"/>
                <a:gd name="connsiteY4" fmla="*/ 20918 h 150458"/>
                <a:gd name="connsiteX5" fmla="*/ 138558 w 422876"/>
                <a:gd name="connsiteY5" fmla="*/ 7583 h 150458"/>
                <a:gd name="connsiteX6" fmla="*/ 94608 w 422876"/>
                <a:gd name="connsiteY6" fmla="*/ 62828 h 150458"/>
                <a:gd name="connsiteX7" fmla="*/ 69978 w 422876"/>
                <a:gd name="connsiteY7" fmla="*/ 76163 h 150458"/>
                <a:gd name="connsiteX8" fmla="*/ 14733 w 422876"/>
                <a:gd name="connsiteY8" fmla="*/ 150458 h 150458"/>
                <a:gd name="connsiteX0" fmla="*/ 22249 w 430392"/>
                <a:gd name="connsiteY0" fmla="*/ 150458 h 150458"/>
                <a:gd name="connsiteX1" fmla="*/ 407059 w 430392"/>
                <a:gd name="connsiteY1" fmla="*/ 150458 h 150458"/>
                <a:gd name="connsiteX2" fmla="*/ 371904 w 430392"/>
                <a:gd name="connsiteY2" fmla="*/ 85688 h 150458"/>
                <a:gd name="connsiteX3" fmla="*/ 312444 w 430392"/>
                <a:gd name="connsiteY3" fmla="*/ 2503 h 150458"/>
                <a:gd name="connsiteX4" fmla="*/ 203224 w 430392"/>
                <a:gd name="connsiteY4" fmla="*/ 20918 h 150458"/>
                <a:gd name="connsiteX5" fmla="*/ 146074 w 430392"/>
                <a:gd name="connsiteY5" fmla="*/ 7583 h 150458"/>
                <a:gd name="connsiteX6" fmla="*/ 102124 w 430392"/>
                <a:gd name="connsiteY6" fmla="*/ 62828 h 150458"/>
                <a:gd name="connsiteX7" fmla="*/ 77494 w 430392"/>
                <a:gd name="connsiteY7" fmla="*/ 76163 h 150458"/>
                <a:gd name="connsiteX8" fmla="*/ 22249 w 430392"/>
                <a:gd name="connsiteY8" fmla="*/ 150458 h 150458"/>
                <a:gd name="connsiteX0" fmla="*/ 22249 w 430392"/>
                <a:gd name="connsiteY0" fmla="*/ 150458 h 150458"/>
                <a:gd name="connsiteX1" fmla="*/ 407059 w 430392"/>
                <a:gd name="connsiteY1" fmla="*/ 150458 h 150458"/>
                <a:gd name="connsiteX2" fmla="*/ 371904 w 430392"/>
                <a:gd name="connsiteY2" fmla="*/ 85688 h 150458"/>
                <a:gd name="connsiteX3" fmla="*/ 312444 w 430392"/>
                <a:gd name="connsiteY3" fmla="*/ 2503 h 150458"/>
                <a:gd name="connsiteX4" fmla="*/ 203224 w 430392"/>
                <a:gd name="connsiteY4" fmla="*/ 20918 h 150458"/>
                <a:gd name="connsiteX5" fmla="*/ 146074 w 430392"/>
                <a:gd name="connsiteY5" fmla="*/ 7583 h 150458"/>
                <a:gd name="connsiteX6" fmla="*/ 102124 w 430392"/>
                <a:gd name="connsiteY6" fmla="*/ 62828 h 150458"/>
                <a:gd name="connsiteX7" fmla="*/ 77494 w 430392"/>
                <a:gd name="connsiteY7" fmla="*/ 76163 h 150458"/>
                <a:gd name="connsiteX8" fmla="*/ 22249 w 430392"/>
                <a:gd name="connsiteY8" fmla="*/ 150458 h 150458"/>
                <a:gd name="connsiteX0" fmla="*/ 12679 w 420822"/>
                <a:gd name="connsiteY0" fmla="*/ 150458 h 150458"/>
                <a:gd name="connsiteX1" fmla="*/ 397489 w 420822"/>
                <a:gd name="connsiteY1" fmla="*/ 150458 h 150458"/>
                <a:gd name="connsiteX2" fmla="*/ 362334 w 420822"/>
                <a:gd name="connsiteY2" fmla="*/ 85688 h 150458"/>
                <a:gd name="connsiteX3" fmla="*/ 302874 w 420822"/>
                <a:gd name="connsiteY3" fmla="*/ 2503 h 150458"/>
                <a:gd name="connsiteX4" fmla="*/ 193654 w 420822"/>
                <a:gd name="connsiteY4" fmla="*/ 20918 h 150458"/>
                <a:gd name="connsiteX5" fmla="*/ 136504 w 420822"/>
                <a:gd name="connsiteY5" fmla="*/ 7583 h 150458"/>
                <a:gd name="connsiteX6" fmla="*/ 92554 w 420822"/>
                <a:gd name="connsiteY6" fmla="*/ 62828 h 150458"/>
                <a:gd name="connsiteX7" fmla="*/ 67924 w 420822"/>
                <a:gd name="connsiteY7" fmla="*/ 76163 h 150458"/>
                <a:gd name="connsiteX8" fmla="*/ 12679 w 420822"/>
                <a:gd name="connsiteY8" fmla="*/ 150458 h 150458"/>
                <a:gd name="connsiteX0" fmla="*/ 15691 w 423834"/>
                <a:gd name="connsiteY0" fmla="*/ 150458 h 150458"/>
                <a:gd name="connsiteX1" fmla="*/ 400501 w 423834"/>
                <a:gd name="connsiteY1" fmla="*/ 150458 h 150458"/>
                <a:gd name="connsiteX2" fmla="*/ 365346 w 423834"/>
                <a:gd name="connsiteY2" fmla="*/ 85688 h 150458"/>
                <a:gd name="connsiteX3" fmla="*/ 305886 w 423834"/>
                <a:gd name="connsiteY3" fmla="*/ 2503 h 150458"/>
                <a:gd name="connsiteX4" fmla="*/ 196666 w 423834"/>
                <a:gd name="connsiteY4" fmla="*/ 20918 h 150458"/>
                <a:gd name="connsiteX5" fmla="*/ 139516 w 423834"/>
                <a:gd name="connsiteY5" fmla="*/ 7583 h 150458"/>
                <a:gd name="connsiteX6" fmla="*/ 95566 w 423834"/>
                <a:gd name="connsiteY6" fmla="*/ 62828 h 150458"/>
                <a:gd name="connsiteX7" fmla="*/ 70936 w 423834"/>
                <a:gd name="connsiteY7" fmla="*/ 76163 h 150458"/>
                <a:gd name="connsiteX8" fmla="*/ 15691 w 423834"/>
                <a:gd name="connsiteY8" fmla="*/ 150458 h 150458"/>
                <a:gd name="connsiteX0" fmla="*/ 16512 w 426694"/>
                <a:gd name="connsiteY0" fmla="*/ 146648 h 150458"/>
                <a:gd name="connsiteX1" fmla="*/ 403361 w 426694"/>
                <a:gd name="connsiteY1" fmla="*/ 150458 h 150458"/>
                <a:gd name="connsiteX2" fmla="*/ 368206 w 426694"/>
                <a:gd name="connsiteY2" fmla="*/ 85688 h 150458"/>
                <a:gd name="connsiteX3" fmla="*/ 308746 w 426694"/>
                <a:gd name="connsiteY3" fmla="*/ 2503 h 150458"/>
                <a:gd name="connsiteX4" fmla="*/ 199526 w 426694"/>
                <a:gd name="connsiteY4" fmla="*/ 20918 h 150458"/>
                <a:gd name="connsiteX5" fmla="*/ 142376 w 426694"/>
                <a:gd name="connsiteY5" fmla="*/ 7583 h 150458"/>
                <a:gd name="connsiteX6" fmla="*/ 98426 w 426694"/>
                <a:gd name="connsiteY6" fmla="*/ 62828 h 150458"/>
                <a:gd name="connsiteX7" fmla="*/ 73796 w 426694"/>
                <a:gd name="connsiteY7" fmla="*/ 76163 h 150458"/>
                <a:gd name="connsiteX8" fmla="*/ 16512 w 426694"/>
                <a:gd name="connsiteY8" fmla="*/ 146648 h 150458"/>
                <a:gd name="connsiteX0" fmla="*/ 3329 w 413511"/>
                <a:gd name="connsiteY0" fmla="*/ 146648 h 150458"/>
                <a:gd name="connsiteX1" fmla="*/ 390178 w 413511"/>
                <a:gd name="connsiteY1" fmla="*/ 150458 h 150458"/>
                <a:gd name="connsiteX2" fmla="*/ 355023 w 413511"/>
                <a:gd name="connsiteY2" fmla="*/ 85688 h 150458"/>
                <a:gd name="connsiteX3" fmla="*/ 295563 w 413511"/>
                <a:gd name="connsiteY3" fmla="*/ 2503 h 150458"/>
                <a:gd name="connsiteX4" fmla="*/ 186343 w 413511"/>
                <a:gd name="connsiteY4" fmla="*/ 20918 h 150458"/>
                <a:gd name="connsiteX5" fmla="*/ 129193 w 413511"/>
                <a:gd name="connsiteY5" fmla="*/ 7583 h 150458"/>
                <a:gd name="connsiteX6" fmla="*/ 85243 w 413511"/>
                <a:gd name="connsiteY6" fmla="*/ 62828 h 150458"/>
                <a:gd name="connsiteX7" fmla="*/ 60613 w 413511"/>
                <a:gd name="connsiteY7" fmla="*/ 76163 h 150458"/>
                <a:gd name="connsiteX8" fmla="*/ 3329 w 413511"/>
                <a:gd name="connsiteY8" fmla="*/ 146648 h 150458"/>
                <a:gd name="connsiteX0" fmla="*/ 3507 w 413689"/>
                <a:gd name="connsiteY0" fmla="*/ 146648 h 150458"/>
                <a:gd name="connsiteX1" fmla="*/ 390356 w 413689"/>
                <a:gd name="connsiteY1" fmla="*/ 150458 h 150458"/>
                <a:gd name="connsiteX2" fmla="*/ 355201 w 413689"/>
                <a:gd name="connsiteY2" fmla="*/ 85688 h 150458"/>
                <a:gd name="connsiteX3" fmla="*/ 295741 w 413689"/>
                <a:gd name="connsiteY3" fmla="*/ 2503 h 150458"/>
                <a:gd name="connsiteX4" fmla="*/ 186521 w 413689"/>
                <a:gd name="connsiteY4" fmla="*/ 20918 h 150458"/>
                <a:gd name="connsiteX5" fmla="*/ 129371 w 413689"/>
                <a:gd name="connsiteY5" fmla="*/ 7583 h 150458"/>
                <a:gd name="connsiteX6" fmla="*/ 85421 w 413689"/>
                <a:gd name="connsiteY6" fmla="*/ 62828 h 150458"/>
                <a:gd name="connsiteX7" fmla="*/ 60791 w 413689"/>
                <a:gd name="connsiteY7" fmla="*/ 76163 h 150458"/>
                <a:gd name="connsiteX8" fmla="*/ 3507 w 413689"/>
                <a:gd name="connsiteY8" fmla="*/ 146648 h 150458"/>
                <a:gd name="connsiteX0" fmla="*/ 3507 w 413689"/>
                <a:gd name="connsiteY0" fmla="*/ 148014 h 151824"/>
                <a:gd name="connsiteX1" fmla="*/ 390356 w 413689"/>
                <a:gd name="connsiteY1" fmla="*/ 151824 h 151824"/>
                <a:gd name="connsiteX2" fmla="*/ 355201 w 413689"/>
                <a:gd name="connsiteY2" fmla="*/ 87054 h 151824"/>
                <a:gd name="connsiteX3" fmla="*/ 295741 w 413689"/>
                <a:gd name="connsiteY3" fmla="*/ 3869 h 151824"/>
                <a:gd name="connsiteX4" fmla="*/ 186521 w 413689"/>
                <a:gd name="connsiteY4" fmla="*/ 22284 h 151824"/>
                <a:gd name="connsiteX5" fmla="*/ 129371 w 413689"/>
                <a:gd name="connsiteY5" fmla="*/ 8949 h 151824"/>
                <a:gd name="connsiteX6" fmla="*/ 85421 w 413689"/>
                <a:gd name="connsiteY6" fmla="*/ 64194 h 151824"/>
                <a:gd name="connsiteX7" fmla="*/ 60791 w 413689"/>
                <a:gd name="connsiteY7" fmla="*/ 77529 h 151824"/>
                <a:gd name="connsiteX8" fmla="*/ 3507 w 413689"/>
                <a:gd name="connsiteY8" fmla="*/ 148014 h 151824"/>
                <a:gd name="connsiteX0" fmla="*/ 3507 w 413689"/>
                <a:gd name="connsiteY0" fmla="*/ 150218 h 154028"/>
                <a:gd name="connsiteX1" fmla="*/ 390356 w 413689"/>
                <a:gd name="connsiteY1" fmla="*/ 154028 h 154028"/>
                <a:gd name="connsiteX2" fmla="*/ 355201 w 413689"/>
                <a:gd name="connsiteY2" fmla="*/ 89258 h 154028"/>
                <a:gd name="connsiteX3" fmla="*/ 295741 w 413689"/>
                <a:gd name="connsiteY3" fmla="*/ 6073 h 154028"/>
                <a:gd name="connsiteX4" fmla="*/ 186521 w 413689"/>
                <a:gd name="connsiteY4" fmla="*/ 24488 h 154028"/>
                <a:gd name="connsiteX5" fmla="*/ 129371 w 413689"/>
                <a:gd name="connsiteY5" fmla="*/ 11153 h 154028"/>
                <a:gd name="connsiteX6" fmla="*/ 85421 w 413689"/>
                <a:gd name="connsiteY6" fmla="*/ 66398 h 154028"/>
                <a:gd name="connsiteX7" fmla="*/ 60791 w 413689"/>
                <a:gd name="connsiteY7" fmla="*/ 79733 h 154028"/>
                <a:gd name="connsiteX8" fmla="*/ 3507 w 413689"/>
                <a:gd name="connsiteY8" fmla="*/ 150218 h 154028"/>
                <a:gd name="connsiteX0" fmla="*/ 3610 w 413792"/>
                <a:gd name="connsiteY0" fmla="*/ 150218 h 154028"/>
                <a:gd name="connsiteX1" fmla="*/ 390459 w 413792"/>
                <a:gd name="connsiteY1" fmla="*/ 154028 h 154028"/>
                <a:gd name="connsiteX2" fmla="*/ 355304 w 413792"/>
                <a:gd name="connsiteY2" fmla="*/ 89258 h 154028"/>
                <a:gd name="connsiteX3" fmla="*/ 295844 w 413792"/>
                <a:gd name="connsiteY3" fmla="*/ 6073 h 154028"/>
                <a:gd name="connsiteX4" fmla="*/ 186624 w 413792"/>
                <a:gd name="connsiteY4" fmla="*/ 24488 h 154028"/>
                <a:gd name="connsiteX5" fmla="*/ 129474 w 413792"/>
                <a:gd name="connsiteY5" fmla="*/ 11153 h 154028"/>
                <a:gd name="connsiteX6" fmla="*/ 85524 w 413792"/>
                <a:gd name="connsiteY6" fmla="*/ 66398 h 154028"/>
                <a:gd name="connsiteX7" fmla="*/ 58854 w 413792"/>
                <a:gd name="connsiteY7" fmla="*/ 74018 h 154028"/>
                <a:gd name="connsiteX8" fmla="*/ 3610 w 413792"/>
                <a:gd name="connsiteY8" fmla="*/ 150218 h 154028"/>
                <a:gd name="connsiteX0" fmla="*/ 0 w 410182"/>
                <a:gd name="connsiteY0" fmla="*/ 150218 h 154028"/>
                <a:gd name="connsiteX1" fmla="*/ 386849 w 410182"/>
                <a:gd name="connsiteY1" fmla="*/ 154028 h 154028"/>
                <a:gd name="connsiteX2" fmla="*/ 351694 w 410182"/>
                <a:gd name="connsiteY2" fmla="*/ 89258 h 154028"/>
                <a:gd name="connsiteX3" fmla="*/ 292234 w 410182"/>
                <a:gd name="connsiteY3" fmla="*/ 6073 h 154028"/>
                <a:gd name="connsiteX4" fmla="*/ 183014 w 410182"/>
                <a:gd name="connsiteY4" fmla="*/ 24488 h 154028"/>
                <a:gd name="connsiteX5" fmla="*/ 125864 w 410182"/>
                <a:gd name="connsiteY5" fmla="*/ 11153 h 154028"/>
                <a:gd name="connsiteX6" fmla="*/ 81914 w 410182"/>
                <a:gd name="connsiteY6" fmla="*/ 66398 h 154028"/>
                <a:gd name="connsiteX7" fmla="*/ 55244 w 410182"/>
                <a:gd name="connsiteY7" fmla="*/ 74018 h 154028"/>
                <a:gd name="connsiteX8" fmla="*/ 0 w 410182"/>
                <a:gd name="connsiteY8" fmla="*/ 150218 h 154028"/>
                <a:gd name="connsiteX0" fmla="*/ 0 w 410182"/>
                <a:gd name="connsiteY0" fmla="*/ 150218 h 154028"/>
                <a:gd name="connsiteX1" fmla="*/ 386849 w 410182"/>
                <a:gd name="connsiteY1" fmla="*/ 154028 h 154028"/>
                <a:gd name="connsiteX2" fmla="*/ 351694 w 410182"/>
                <a:gd name="connsiteY2" fmla="*/ 89258 h 154028"/>
                <a:gd name="connsiteX3" fmla="*/ 292234 w 410182"/>
                <a:gd name="connsiteY3" fmla="*/ 6073 h 154028"/>
                <a:gd name="connsiteX4" fmla="*/ 183014 w 410182"/>
                <a:gd name="connsiteY4" fmla="*/ 24488 h 154028"/>
                <a:gd name="connsiteX5" fmla="*/ 125864 w 410182"/>
                <a:gd name="connsiteY5" fmla="*/ 11153 h 154028"/>
                <a:gd name="connsiteX6" fmla="*/ 81914 w 410182"/>
                <a:gd name="connsiteY6" fmla="*/ 66398 h 154028"/>
                <a:gd name="connsiteX7" fmla="*/ 55244 w 410182"/>
                <a:gd name="connsiteY7" fmla="*/ 74018 h 154028"/>
                <a:gd name="connsiteX8" fmla="*/ 0 w 410182"/>
                <a:gd name="connsiteY8" fmla="*/ 150218 h 154028"/>
                <a:gd name="connsiteX0" fmla="*/ 0 w 410182"/>
                <a:gd name="connsiteY0" fmla="*/ 150218 h 154028"/>
                <a:gd name="connsiteX1" fmla="*/ 386849 w 410182"/>
                <a:gd name="connsiteY1" fmla="*/ 154028 h 154028"/>
                <a:gd name="connsiteX2" fmla="*/ 351694 w 410182"/>
                <a:gd name="connsiteY2" fmla="*/ 89258 h 154028"/>
                <a:gd name="connsiteX3" fmla="*/ 292234 w 410182"/>
                <a:gd name="connsiteY3" fmla="*/ 6073 h 154028"/>
                <a:gd name="connsiteX4" fmla="*/ 183014 w 410182"/>
                <a:gd name="connsiteY4" fmla="*/ 24488 h 154028"/>
                <a:gd name="connsiteX5" fmla="*/ 125864 w 410182"/>
                <a:gd name="connsiteY5" fmla="*/ 11153 h 154028"/>
                <a:gd name="connsiteX6" fmla="*/ 81914 w 410182"/>
                <a:gd name="connsiteY6" fmla="*/ 66398 h 154028"/>
                <a:gd name="connsiteX7" fmla="*/ 55244 w 410182"/>
                <a:gd name="connsiteY7" fmla="*/ 74018 h 154028"/>
                <a:gd name="connsiteX8" fmla="*/ 0 w 410182"/>
                <a:gd name="connsiteY8" fmla="*/ 150218 h 154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182" h="154028">
                  <a:moveTo>
                    <a:pt x="0" y="150218"/>
                  </a:moveTo>
                  <a:lnTo>
                    <a:pt x="386849" y="154028"/>
                  </a:lnTo>
                  <a:cubicBezTo>
                    <a:pt x="443682" y="142916"/>
                    <a:pt x="382703" y="111377"/>
                    <a:pt x="351694" y="89258"/>
                  </a:cubicBezTo>
                  <a:cubicBezTo>
                    <a:pt x="334962" y="57614"/>
                    <a:pt x="320347" y="16868"/>
                    <a:pt x="292234" y="6073"/>
                  </a:cubicBezTo>
                  <a:cubicBezTo>
                    <a:pt x="219248" y="-14247"/>
                    <a:pt x="219421" y="22795"/>
                    <a:pt x="183014" y="24488"/>
                  </a:cubicBezTo>
                  <a:cubicBezTo>
                    <a:pt x="163964" y="20043"/>
                    <a:pt x="159192" y="13693"/>
                    <a:pt x="125864" y="11153"/>
                  </a:cubicBezTo>
                  <a:cubicBezTo>
                    <a:pt x="88777" y="31473"/>
                    <a:pt x="96564" y="47983"/>
                    <a:pt x="81914" y="66398"/>
                  </a:cubicBezTo>
                  <a:cubicBezTo>
                    <a:pt x="70484" y="77828"/>
                    <a:pt x="68896" y="60048"/>
                    <a:pt x="55244" y="74018"/>
                  </a:cubicBezTo>
                  <a:cubicBezTo>
                    <a:pt x="37513" y="82273"/>
                    <a:pt x="144" y="120691"/>
                    <a:pt x="0" y="150218"/>
                  </a:cubicBezTo>
                  <a:close/>
                </a:path>
              </a:pathLst>
            </a:cu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01B1D669-802E-4A36-8F62-6B9E3811F959}"/>
                </a:ext>
              </a:extLst>
            </p:cNvPr>
            <p:cNvSpPr/>
            <p:nvPr/>
          </p:nvSpPr>
          <p:spPr>
            <a:xfrm>
              <a:off x="4696044" y="1976197"/>
              <a:ext cx="397805" cy="160189"/>
            </a:xfrm>
            <a:custGeom>
              <a:avLst/>
              <a:gdLst>
                <a:gd name="connsiteX0" fmla="*/ 397805 w 397805"/>
                <a:gd name="connsiteY0" fmla="*/ 160190 h 160189"/>
                <a:gd name="connsiteX1" fmla="*/ 0 w 397805"/>
                <a:gd name="connsiteY1" fmla="*/ 160190 h 160189"/>
                <a:gd name="connsiteX2" fmla="*/ 4002 w 397805"/>
                <a:gd name="connsiteY2" fmla="*/ 150556 h 160189"/>
                <a:gd name="connsiteX3" fmla="*/ 8805 w 397805"/>
                <a:gd name="connsiteY3" fmla="*/ 139316 h 160189"/>
                <a:gd name="connsiteX4" fmla="*/ 33217 w 397805"/>
                <a:gd name="connsiteY4" fmla="*/ 95161 h 160189"/>
                <a:gd name="connsiteX5" fmla="*/ 68835 w 397805"/>
                <a:gd name="connsiteY5" fmla="*/ 76696 h 160189"/>
                <a:gd name="connsiteX6" fmla="*/ 80041 w 397805"/>
                <a:gd name="connsiteY6" fmla="*/ 76696 h 160189"/>
                <a:gd name="connsiteX7" fmla="*/ 82843 w 397805"/>
                <a:gd name="connsiteY7" fmla="*/ 76696 h 160189"/>
                <a:gd name="connsiteX8" fmla="*/ 84043 w 397805"/>
                <a:gd name="connsiteY8" fmla="*/ 73485 h 160189"/>
                <a:gd name="connsiteX9" fmla="*/ 88846 w 397805"/>
                <a:gd name="connsiteY9" fmla="*/ 60640 h 160189"/>
                <a:gd name="connsiteX10" fmla="*/ 90847 w 397805"/>
                <a:gd name="connsiteY10" fmla="*/ 56224 h 160189"/>
                <a:gd name="connsiteX11" fmla="*/ 103253 w 397805"/>
                <a:gd name="connsiteY11" fmla="*/ 34548 h 160189"/>
                <a:gd name="connsiteX12" fmla="*/ 148477 w 397805"/>
                <a:gd name="connsiteY12" fmla="*/ 14477 h 160189"/>
                <a:gd name="connsiteX13" fmla="*/ 161283 w 397805"/>
                <a:gd name="connsiteY13" fmla="*/ 18893 h 160189"/>
                <a:gd name="connsiteX14" fmla="*/ 164885 w 397805"/>
                <a:gd name="connsiteY14" fmla="*/ 20498 h 160189"/>
                <a:gd name="connsiteX15" fmla="*/ 173690 w 397805"/>
                <a:gd name="connsiteY15" fmla="*/ 25315 h 160189"/>
                <a:gd name="connsiteX16" fmla="*/ 188497 w 397805"/>
                <a:gd name="connsiteY16" fmla="*/ 24512 h 160189"/>
                <a:gd name="connsiteX17" fmla="*/ 196902 w 397805"/>
                <a:gd name="connsiteY17" fmla="*/ 18491 h 160189"/>
                <a:gd name="connsiteX18" fmla="*/ 206506 w 397805"/>
                <a:gd name="connsiteY18" fmla="*/ 11667 h 160189"/>
                <a:gd name="connsiteX19" fmla="*/ 263736 w 397805"/>
                <a:gd name="connsiteY19" fmla="*/ 2435 h 160189"/>
                <a:gd name="connsiteX20" fmla="*/ 309760 w 397805"/>
                <a:gd name="connsiteY20" fmla="*/ 28527 h 160189"/>
                <a:gd name="connsiteX21" fmla="*/ 337374 w 397805"/>
                <a:gd name="connsiteY21" fmla="*/ 83520 h 160189"/>
                <a:gd name="connsiteX22" fmla="*/ 338575 w 397805"/>
                <a:gd name="connsiteY22" fmla="*/ 93154 h 160189"/>
                <a:gd name="connsiteX23" fmla="*/ 360586 w 397805"/>
                <a:gd name="connsiteY23" fmla="*/ 99175 h 160189"/>
                <a:gd name="connsiteX24" fmla="*/ 391402 w 397805"/>
                <a:gd name="connsiteY24" fmla="*/ 137309 h 160189"/>
                <a:gd name="connsiteX25" fmla="*/ 395004 w 397805"/>
                <a:gd name="connsiteY25" fmla="*/ 150957 h 160189"/>
                <a:gd name="connsiteX26" fmla="*/ 396604 w 397805"/>
                <a:gd name="connsiteY26" fmla="*/ 157380 h 160189"/>
                <a:gd name="connsiteX27" fmla="*/ 397805 w 397805"/>
                <a:gd name="connsiteY27" fmla="*/ 160190 h 160189"/>
                <a:gd name="connsiteX28" fmla="*/ 8805 w 397805"/>
                <a:gd name="connsiteY28" fmla="*/ 154169 h 160189"/>
                <a:gd name="connsiteX29" fmla="*/ 390201 w 397805"/>
                <a:gd name="connsiteY29" fmla="*/ 154169 h 160189"/>
                <a:gd name="connsiteX30" fmla="*/ 389401 w 397805"/>
                <a:gd name="connsiteY30" fmla="*/ 151359 h 160189"/>
                <a:gd name="connsiteX31" fmla="*/ 386199 w 397805"/>
                <a:gd name="connsiteY31" fmla="*/ 138513 h 160189"/>
                <a:gd name="connsiteX32" fmla="*/ 358185 w 397805"/>
                <a:gd name="connsiteY32" fmla="*/ 103992 h 160189"/>
                <a:gd name="connsiteX33" fmla="*/ 319765 w 397805"/>
                <a:gd name="connsiteY33" fmla="*/ 99577 h 160189"/>
                <a:gd name="connsiteX34" fmla="*/ 301355 w 397805"/>
                <a:gd name="connsiteY34" fmla="*/ 111217 h 160189"/>
                <a:gd name="connsiteX35" fmla="*/ 296153 w 397805"/>
                <a:gd name="connsiteY35" fmla="*/ 108408 h 160189"/>
                <a:gd name="connsiteX36" fmla="*/ 318964 w 397805"/>
                <a:gd name="connsiteY36" fmla="*/ 93154 h 160189"/>
                <a:gd name="connsiteX37" fmla="*/ 332972 w 397805"/>
                <a:gd name="connsiteY37" fmla="*/ 91950 h 160189"/>
                <a:gd name="connsiteX38" fmla="*/ 332972 w 397805"/>
                <a:gd name="connsiteY38" fmla="*/ 91950 h 160189"/>
                <a:gd name="connsiteX39" fmla="*/ 332171 w 397805"/>
                <a:gd name="connsiteY39" fmla="*/ 83921 h 160189"/>
                <a:gd name="connsiteX40" fmla="*/ 306158 w 397805"/>
                <a:gd name="connsiteY40" fmla="*/ 31738 h 160189"/>
                <a:gd name="connsiteX41" fmla="*/ 262936 w 397805"/>
                <a:gd name="connsiteY41" fmla="*/ 7653 h 160189"/>
                <a:gd name="connsiteX42" fmla="*/ 210509 w 397805"/>
                <a:gd name="connsiteY42" fmla="*/ 16083 h 160189"/>
                <a:gd name="connsiteX43" fmla="*/ 200904 w 397805"/>
                <a:gd name="connsiteY43" fmla="*/ 22907 h 160189"/>
                <a:gd name="connsiteX44" fmla="*/ 192099 w 397805"/>
                <a:gd name="connsiteY44" fmla="*/ 28928 h 160189"/>
                <a:gd name="connsiteX45" fmla="*/ 170888 w 397805"/>
                <a:gd name="connsiteY45" fmla="*/ 29731 h 160189"/>
                <a:gd name="connsiteX46" fmla="*/ 162884 w 397805"/>
                <a:gd name="connsiteY46" fmla="*/ 25315 h 160189"/>
                <a:gd name="connsiteX47" fmla="*/ 159282 w 397805"/>
                <a:gd name="connsiteY47" fmla="*/ 23710 h 160189"/>
                <a:gd name="connsiteX48" fmla="*/ 148076 w 397805"/>
                <a:gd name="connsiteY48" fmla="*/ 19696 h 160189"/>
                <a:gd name="connsiteX49" fmla="*/ 108456 w 397805"/>
                <a:gd name="connsiteY49" fmla="*/ 37358 h 160189"/>
                <a:gd name="connsiteX50" fmla="*/ 96850 w 397805"/>
                <a:gd name="connsiteY50" fmla="*/ 57830 h 160189"/>
                <a:gd name="connsiteX51" fmla="*/ 94849 w 397805"/>
                <a:gd name="connsiteY51" fmla="*/ 62245 h 160189"/>
                <a:gd name="connsiteX52" fmla="*/ 90046 w 397805"/>
                <a:gd name="connsiteY52" fmla="*/ 74288 h 160189"/>
                <a:gd name="connsiteX53" fmla="*/ 88045 w 397805"/>
                <a:gd name="connsiteY53" fmla="*/ 79506 h 160189"/>
                <a:gd name="connsiteX54" fmla="*/ 87245 w 397805"/>
                <a:gd name="connsiteY54" fmla="*/ 81513 h 160189"/>
                <a:gd name="connsiteX55" fmla="*/ 85244 w 397805"/>
                <a:gd name="connsiteY55" fmla="*/ 81513 h 160189"/>
                <a:gd name="connsiteX56" fmla="*/ 80041 w 397805"/>
                <a:gd name="connsiteY56" fmla="*/ 81513 h 160189"/>
                <a:gd name="connsiteX57" fmla="*/ 69236 w 397805"/>
                <a:gd name="connsiteY57" fmla="*/ 81513 h 160189"/>
                <a:gd name="connsiteX58" fmla="*/ 37619 w 397805"/>
                <a:gd name="connsiteY58" fmla="*/ 97569 h 160189"/>
                <a:gd name="connsiteX59" fmla="*/ 14007 w 397805"/>
                <a:gd name="connsiteY59" fmla="*/ 140521 h 160189"/>
                <a:gd name="connsiteX60" fmla="*/ 9205 w 397805"/>
                <a:gd name="connsiteY60" fmla="*/ 151760 h 160189"/>
                <a:gd name="connsiteX61" fmla="*/ 8805 w 397805"/>
                <a:gd name="connsiteY61" fmla="*/ 154169 h 16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97805" h="160189">
                  <a:moveTo>
                    <a:pt x="397805" y="160190"/>
                  </a:moveTo>
                  <a:lnTo>
                    <a:pt x="0" y="160190"/>
                  </a:lnTo>
                  <a:lnTo>
                    <a:pt x="4002" y="150556"/>
                  </a:lnTo>
                  <a:cubicBezTo>
                    <a:pt x="5603" y="146542"/>
                    <a:pt x="7204" y="142929"/>
                    <a:pt x="8805" y="139316"/>
                  </a:cubicBezTo>
                  <a:cubicBezTo>
                    <a:pt x="14808" y="125668"/>
                    <a:pt x="22412" y="109612"/>
                    <a:pt x="33217" y="95161"/>
                  </a:cubicBezTo>
                  <a:cubicBezTo>
                    <a:pt x="41621" y="84323"/>
                    <a:pt x="53227" y="78302"/>
                    <a:pt x="68835" y="76696"/>
                  </a:cubicBezTo>
                  <a:cubicBezTo>
                    <a:pt x="72838" y="76295"/>
                    <a:pt x="76439" y="76295"/>
                    <a:pt x="80041" y="76696"/>
                  </a:cubicBezTo>
                  <a:cubicBezTo>
                    <a:pt x="80842" y="76696"/>
                    <a:pt x="82042" y="76696"/>
                    <a:pt x="82843" y="76696"/>
                  </a:cubicBezTo>
                  <a:cubicBezTo>
                    <a:pt x="83243" y="75492"/>
                    <a:pt x="83643" y="74689"/>
                    <a:pt x="84043" y="73485"/>
                  </a:cubicBezTo>
                  <a:cubicBezTo>
                    <a:pt x="85644" y="69471"/>
                    <a:pt x="86845" y="65055"/>
                    <a:pt x="88846" y="60640"/>
                  </a:cubicBezTo>
                  <a:cubicBezTo>
                    <a:pt x="89646" y="59034"/>
                    <a:pt x="90447" y="57830"/>
                    <a:pt x="90847" y="56224"/>
                  </a:cubicBezTo>
                  <a:cubicBezTo>
                    <a:pt x="94449" y="48597"/>
                    <a:pt x="98051" y="40970"/>
                    <a:pt x="103253" y="34548"/>
                  </a:cubicBezTo>
                  <a:cubicBezTo>
                    <a:pt x="115259" y="18893"/>
                    <a:pt x="130867" y="12069"/>
                    <a:pt x="148477" y="14477"/>
                  </a:cubicBezTo>
                  <a:cubicBezTo>
                    <a:pt x="152879" y="15280"/>
                    <a:pt x="157281" y="16886"/>
                    <a:pt x="161283" y="18893"/>
                  </a:cubicBezTo>
                  <a:cubicBezTo>
                    <a:pt x="162484" y="19294"/>
                    <a:pt x="163684" y="20097"/>
                    <a:pt x="164885" y="20498"/>
                  </a:cubicBezTo>
                  <a:cubicBezTo>
                    <a:pt x="168087" y="21703"/>
                    <a:pt x="170888" y="23308"/>
                    <a:pt x="173690" y="25315"/>
                  </a:cubicBezTo>
                  <a:cubicBezTo>
                    <a:pt x="178492" y="28125"/>
                    <a:pt x="183294" y="28125"/>
                    <a:pt x="188497" y="24512"/>
                  </a:cubicBezTo>
                  <a:cubicBezTo>
                    <a:pt x="191299" y="22505"/>
                    <a:pt x="194100" y="20498"/>
                    <a:pt x="196902" y="18491"/>
                  </a:cubicBezTo>
                  <a:cubicBezTo>
                    <a:pt x="200103" y="16083"/>
                    <a:pt x="203305" y="13674"/>
                    <a:pt x="206506" y="11667"/>
                  </a:cubicBezTo>
                  <a:cubicBezTo>
                    <a:pt x="223315" y="428"/>
                    <a:pt x="242525" y="-2784"/>
                    <a:pt x="263736" y="2435"/>
                  </a:cubicBezTo>
                  <a:cubicBezTo>
                    <a:pt x="282946" y="7252"/>
                    <a:pt x="298154" y="15681"/>
                    <a:pt x="309760" y="28527"/>
                  </a:cubicBezTo>
                  <a:cubicBezTo>
                    <a:pt x="323767" y="43379"/>
                    <a:pt x="332972" y="62245"/>
                    <a:pt x="337374" y="83520"/>
                  </a:cubicBezTo>
                  <a:cubicBezTo>
                    <a:pt x="337374" y="84323"/>
                    <a:pt x="338174" y="89541"/>
                    <a:pt x="338575" y="93154"/>
                  </a:cubicBezTo>
                  <a:cubicBezTo>
                    <a:pt x="346579" y="93957"/>
                    <a:pt x="353782" y="95964"/>
                    <a:pt x="360586" y="99175"/>
                  </a:cubicBezTo>
                  <a:cubicBezTo>
                    <a:pt x="374993" y="106401"/>
                    <a:pt x="385399" y="118844"/>
                    <a:pt x="391402" y="137309"/>
                  </a:cubicBezTo>
                  <a:cubicBezTo>
                    <a:pt x="393003" y="141725"/>
                    <a:pt x="393803" y="146140"/>
                    <a:pt x="395004" y="150957"/>
                  </a:cubicBezTo>
                  <a:cubicBezTo>
                    <a:pt x="395404" y="152964"/>
                    <a:pt x="395804" y="155373"/>
                    <a:pt x="396604" y="157380"/>
                  </a:cubicBezTo>
                  <a:lnTo>
                    <a:pt x="397805" y="160190"/>
                  </a:lnTo>
                  <a:close/>
                  <a:moveTo>
                    <a:pt x="8805" y="154169"/>
                  </a:moveTo>
                  <a:lnTo>
                    <a:pt x="390201" y="154169"/>
                  </a:lnTo>
                  <a:cubicBezTo>
                    <a:pt x="389801" y="153366"/>
                    <a:pt x="389801" y="152161"/>
                    <a:pt x="389401" y="151359"/>
                  </a:cubicBezTo>
                  <a:cubicBezTo>
                    <a:pt x="388600" y="146943"/>
                    <a:pt x="387400" y="142528"/>
                    <a:pt x="386199" y="138513"/>
                  </a:cubicBezTo>
                  <a:cubicBezTo>
                    <a:pt x="380596" y="121654"/>
                    <a:pt x="371391" y="110415"/>
                    <a:pt x="358185" y="103992"/>
                  </a:cubicBezTo>
                  <a:cubicBezTo>
                    <a:pt x="346979" y="98372"/>
                    <a:pt x="334573" y="97168"/>
                    <a:pt x="319765" y="99577"/>
                  </a:cubicBezTo>
                  <a:cubicBezTo>
                    <a:pt x="310560" y="101182"/>
                    <a:pt x="304557" y="104795"/>
                    <a:pt x="301355" y="111217"/>
                  </a:cubicBezTo>
                  <a:lnTo>
                    <a:pt x="296153" y="108408"/>
                  </a:lnTo>
                  <a:cubicBezTo>
                    <a:pt x="300155" y="99978"/>
                    <a:pt x="307759" y="95161"/>
                    <a:pt x="318964" y="93154"/>
                  </a:cubicBezTo>
                  <a:cubicBezTo>
                    <a:pt x="323767" y="92351"/>
                    <a:pt x="328569" y="91950"/>
                    <a:pt x="332972" y="91950"/>
                  </a:cubicBezTo>
                  <a:cubicBezTo>
                    <a:pt x="332972" y="91950"/>
                    <a:pt x="332972" y="91950"/>
                    <a:pt x="332972" y="91950"/>
                  </a:cubicBezTo>
                  <a:cubicBezTo>
                    <a:pt x="332571" y="88738"/>
                    <a:pt x="332171" y="84323"/>
                    <a:pt x="332171" y="83921"/>
                  </a:cubicBezTo>
                  <a:cubicBezTo>
                    <a:pt x="328169" y="63449"/>
                    <a:pt x="319365" y="45787"/>
                    <a:pt x="306158" y="31738"/>
                  </a:cubicBezTo>
                  <a:cubicBezTo>
                    <a:pt x="295352" y="20097"/>
                    <a:pt x="280945" y="12069"/>
                    <a:pt x="262936" y="7653"/>
                  </a:cubicBezTo>
                  <a:cubicBezTo>
                    <a:pt x="243325" y="2836"/>
                    <a:pt x="226117" y="5646"/>
                    <a:pt x="210509" y="16083"/>
                  </a:cubicBezTo>
                  <a:cubicBezTo>
                    <a:pt x="207307" y="18090"/>
                    <a:pt x="204105" y="20498"/>
                    <a:pt x="200904" y="22907"/>
                  </a:cubicBezTo>
                  <a:cubicBezTo>
                    <a:pt x="198102" y="24914"/>
                    <a:pt x="195301" y="26921"/>
                    <a:pt x="192099" y="28928"/>
                  </a:cubicBezTo>
                  <a:cubicBezTo>
                    <a:pt x="185296" y="33745"/>
                    <a:pt x="178092" y="34146"/>
                    <a:pt x="170888" y="29731"/>
                  </a:cubicBezTo>
                  <a:cubicBezTo>
                    <a:pt x="168487" y="28125"/>
                    <a:pt x="165685" y="26520"/>
                    <a:pt x="162884" y="25315"/>
                  </a:cubicBezTo>
                  <a:cubicBezTo>
                    <a:pt x="161683" y="24914"/>
                    <a:pt x="160483" y="24111"/>
                    <a:pt x="159282" y="23710"/>
                  </a:cubicBezTo>
                  <a:cubicBezTo>
                    <a:pt x="155280" y="22104"/>
                    <a:pt x="151678" y="20498"/>
                    <a:pt x="148076" y="19696"/>
                  </a:cubicBezTo>
                  <a:cubicBezTo>
                    <a:pt x="132468" y="17688"/>
                    <a:pt x="119261" y="23308"/>
                    <a:pt x="108456" y="37358"/>
                  </a:cubicBezTo>
                  <a:cubicBezTo>
                    <a:pt x="103653" y="43379"/>
                    <a:pt x="100452" y="51006"/>
                    <a:pt x="96850" y="57830"/>
                  </a:cubicBezTo>
                  <a:cubicBezTo>
                    <a:pt x="96050" y="59435"/>
                    <a:pt x="95249" y="60640"/>
                    <a:pt x="94849" y="62245"/>
                  </a:cubicBezTo>
                  <a:cubicBezTo>
                    <a:pt x="92848" y="66259"/>
                    <a:pt x="91647" y="70273"/>
                    <a:pt x="90046" y="74288"/>
                  </a:cubicBezTo>
                  <a:cubicBezTo>
                    <a:pt x="89246" y="76295"/>
                    <a:pt x="88846" y="77900"/>
                    <a:pt x="88045" y="79506"/>
                  </a:cubicBezTo>
                  <a:lnTo>
                    <a:pt x="87245" y="81513"/>
                  </a:lnTo>
                  <a:lnTo>
                    <a:pt x="85244" y="81513"/>
                  </a:lnTo>
                  <a:cubicBezTo>
                    <a:pt x="83643" y="81513"/>
                    <a:pt x="81642" y="81513"/>
                    <a:pt x="80041" y="81513"/>
                  </a:cubicBezTo>
                  <a:cubicBezTo>
                    <a:pt x="76439" y="81513"/>
                    <a:pt x="72838" y="81513"/>
                    <a:pt x="69236" y="81513"/>
                  </a:cubicBezTo>
                  <a:cubicBezTo>
                    <a:pt x="55228" y="83119"/>
                    <a:pt x="44823" y="88337"/>
                    <a:pt x="37619" y="97569"/>
                  </a:cubicBezTo>
                  <a:cubicBezTo>
                    <a:pt x="27214" y="111217"/>
                    <a:pt x="19610" y="126873"/>
                    <a:pt x="14007" y="140521"/>
                  </a:cubicBezTo>
                  <a:cubicBezTo>
                    <a:pt x="12406" y="144133"/>
                    <a:pt x="10806" y="147746"/>
                    <a:pt x="9205" y="151760"/>
                  </a:cubicBezTo>
                  <a:lnTo>
                    <a:pt x="8805" y="154169"/>
                  </a:lnTo>
                  <a:close/>
                </a:path>
              </a:pathLst>
            </a:custGeom>
            <a:solidFill>
              <a:srgbClr val="45AC34"/>
            </a:solidFill>
            <a:ln w="3947" cap="flat">
              <a:solidFill>
                <a:srgbClr val="45AC3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3710F905-07D7-47C7-939A-42B6ACCDC496}"/>
                </a:ext>
              </a:extLst>
            </p:cNvPr>
            <p:cNvSpPr/>
            <p:nvPr/>
          </p:nvSpPr>
          <p:spPr>
            <a:xfrm>
              <a:off x="4811703" y="2051497"/>
              <a:ext cx="84043" cy="38727"/>
            </a:xfrm>
            <a:custGeom>
              <a:avLst/>
              <a:gdLst>
                <a:gd name="connsiteX0" fmla="*/ 5203 w 84043"/>
                <a:gd name="connsiteY0" fmla="*/ 38728 h 38727"/>
                <a:gd name="connsiteX1" fmla="*/ 0 w 84043"/>
                <a:gd name="connsiteY1" fmla="*/ 35517 h 38727"/>
                <a:gd name="connsiteX2" fmla="*/ 84043 w 84043"/>
                <a:gd name="connsiteY2" fmla="*/ 1397 h 38727"/>
                <a:gd name="connsiteX3" fmla="*/ 82843 w 84043"/>
                <a:gd name="connsiteY3" fmla="*/ 7418 h 38727"/>
                <a:gd name="connsiteX4" fmla="*/ 5203 w 84043"/>
                <a:gd name="connsiteY4" fmla="*/ 38728 h 3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43" h="38727">
                  <a:moveTo>
                    <a:pt x="5203" y="38728"/>
                  </a:moveTo>
                  <a:lnTo>
                    <a:pt x="0" y="35517"/>
                  </a:lnTo>
                  <a:cubicBezTo>
                    <a:pt x="400" y="35115"/>
                    <a:pt x="28415" y="-8237"/>
                    <a:pt x="84043" y="1397"/>
                  </a:cubicBezTo>
                  <a:lnTo>
                    <a:pt x="82843" y="7418"/>
                  </a:lnTo>
                  <a:cubicBezTo>
                    <a:pt x="31216" y="-1413"/>
                    <a:pt x="6003" y="37122"/>
                    <a:pt x="5203" y="38728"/>
                  </a:cubicBezTo>
                  <a:close/>
                </a:path>
              </a:pathLst>
            </a:custGeom>
            <a:solidFill>
              <a:schemeClr val="bg1"/>
            </a:solidFill>
            <a:ln w="394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B4EE7EAC-3F17-420C-9E77-8A13907857B8}"/>
                </a:ext>
              </a:extLst>
            </p:cNvPr>
            <p:cNvSpPr/>
            <p:nvPr/>
          </p:nvSpPr>
          <p:spPr>
            <a:xfrm>
              <a:off x="4875336" y="2027357"/>
              <a:ext cx="95649" cy="29148"/>
            </a:xfrm>
            <a:custGeom>
              <a:avLst/>
              <a:gdLst>
                <a:gd name="connsiteX0" fmla="*/ 4402 w 95649"/>
                <a:gd name="connsiteY0" fmla="*/ 29149 h 29148"/>
                <a:gd name="connsiteX1" fmla="*/ 0 w 95649"/>
                <a:gd name="connsiteY1" fmla="*/ 25134 h 29148"/>
                <a:gd name="connsiteX2" fmla="*/ 95649 w 95649"/>
                <a:gd name="connsiteY2" fmla="*/ 12691 h 29148"/>
                <a:gd name="connsiteX3" fmla="*/ 92448 w 95649"/>
                <a:gd name="connsiteY3" fmla="*/ 17909 h 29148"/>
                <a:gd name="connsiteX4" fmla="*/ 4402 w 95649"/>
                <a:gd name="connsiteY4" fmla="*/ 29149 h 2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49" h="29148">
                  <a:moveTo>
                    <a:pt x="4402" y="29149"/>
                  </a:moveTo>
                  <a:lnTo>
                    <a:pt x="0" y="25134"/>
                  </a:lnTo>
                  <a:cubicBezTo>
                    <a:pt x="40421" y="-22634"/>
                    <a:pt x="94849" y="12289"/>
                    <a:pt x="95649" y="12691"/>
                  </a:cubicBezTo>
                  <a:lnTo>
                    <a:pt x="92448" y="17909"/>
                  </a:lnTo>
                  <a:cubicBezTo>
                    <a:pt x="90046" y="16303"/>
                    <a:pt x="41621" y="-14605"/>
                    <a:pt x="4402" y="29149"/>
                  </a:cubicBezTo>
                  <a:close/>
                </a:path>
              </a:pathLst>
            </a:custGeom>
            <a:solidFill>
              <a:schemeClr val="bg1"/>
            </a:solidFill>
            <a:ln w="394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09" name="Group 308">
              <a:extLst>
                <a:ext uri="{FF2B5EF4-FFF2-40B4-BE49-F238E27FC236}">
                  <a16:creationId xmlns:a16="http://schemas.microsoft.com/office/drawing/2014/main" id="{06E6A876-7C9B-4F58-98A6-1F9FB0DE0DEC}"/>
                </a:ext>
              </a:extLst>
            </p:cNvPr>
            <p:cNvGrpSpPr/>
            <p:nvPr/>
          </p:nvGrpSpPr>
          <p:grpSpPr>
            <a:xfrm>
              <a:off x="4653454" y="1830913"/>
              <a:ext cx="227473" cy="202311"/>
              <a:chOff x="4707006" y="2071543"/>
              <a:chExt cx="227473" cy="202311"/>
            </a:xfrm>
            <a:solidFill>
              <a:srgbClr val="45AC34"/>
            </a:solidFill>
          </p:grpSpPr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E98BB460-33A0-468C-8195-325AC0776F60}"/>
                  </a:ext>
                </a:extLst>
              </p:cNvPr>
              <p:cNvSpPr/>
              <p:nvPr/>
            </p:nvSpPr>
            <p:spPr>
              <a:xfrm>
                <a:off x="4707006" y="2148614"/>
                <a:ext cx="156480" cy="89916"/>
              </a:xfrm>
              <a:custGeom>
                <a:avLst/>
                <a:gdLst>
                  <a:gd name="connsiteX0" fmla="*/ 55228 w 156480"/>
                  <a:gd name="connsiteY0" fmla="*/ 89916 h 89916"/>
                  <a:gd name="connsiteX1" fmla="*/ 54428 w 156480"/>
                  <a:gd name="connsiteY1" fmla="*/ 83895 h 89916"/>
                  <a:gd name="connsiteX2" fmla="*/ 71637 w 156480"/>
                  <a:gd name="connsiteY2" fmla="*/ 77071 h 89916"/>
                  <a:gd name="connsiteX3" fmla="*/ 74839 w 156480"/>
                  <a:gd name="connsiteY3" fmla="*/ 81888 h 89916"/>
                  <a:gd name="connsiteX4" fmla="*/ 55228 w 156480"/>
                  <a:gd name="connsiteY4" fmla="*/ 89916 h 89916"/>
                  <a:gd name="connsiteX5" fmla="*/ 42422 w 156480"/>
                  <a:gd name="connsiteY5" fmla="*/ 89515 h 89916"/>
                  <a:gd name="connsiteX6" fmla="*/ 22412 w 156480"/>
                  <a:gd name="connsiteY6" fmla="*/ 82691 h 89916"/>
                  <a:gd name="connsiteX7" fmla="*/ 25213 w 156480"/>
                  <a:gd name="connsiteY7" fmla="*/ 77472 h 89916"/>
                  <a:gd name="connsiteX8" fmla="*/ 43222 w 156480"/>
                  <a:gd name="connsiteY8" fmla="*/ 83494 h 89916"/>
                  <a:gd name="connsiteX9" fmla="*/ 42422 w 156480"/>
                  <a:gd name="connsiteY9" fmla="*/ 89515 h 89916"/>
                  <a:gd name="connsiteX10" fmla="*/ 151678 w 156480"/>
                  <a:gd name="connsiteY10" fmla="*/ 84698 h 89916"/>
                  <a:gd name="connsiteX11" fmla="*/ 139272 w 156480"/>
                  <a:gd name="connsiteY11" fmla="*/ 71050 h 89916"/>
                  <a:gd name="connsiteX12" fmla="*/ 142874 w 156480"/>
                  <a:gd name="connsiteY12" fmla="*/ 66233 h 89916"/>
                  <a:gd name="connsiteX13" fmla="*/ 156481 w 156480"/>
                  <a:gd name="connsiteY13" fmla="*/ 81085 h 89916"/>
                  <a:gd name="connsiteX14" fmla="*/ 151678 w 156480"/>
                  <a:gd name="connsiteY14" fmla="*/ 84698 h 89916"/>
                  <a:gd name="connsiteX15" fmla="*/ 12406 w 156480"/>
                  <a:gd name="connsiteY15" fmla="*/ 74663 h 89916"/>
                  <a:gd name="connsiteX16" fmla="*/ 2001 w 156480"/>
                  <a:gd name="connsiteY16" fmla="*/ 56198 h 89916"/>
                  <a:gd name="connsiteX17" fmla="*/ 7604 w 156480"/>
                  <a:gd name="connsiteY17" fmla="*/ 54592 h 89916"/>
                  <a:gd name="connsiteX18" fmla="*/ 16809 w 156480"/>
                  <a:gd name="connsiteY18" fmla="*/ 70648 h 89916"/>
                  <a:gd name="connsiteX19" fmla="*/ 12406 w 156480"/>
                  <a:gd name="connsiteY19" fmla="*/ 74663 h 89916"/>
                  <a:gd name="connsiteX20" fmla="*/ 84444 w 156480"/>
                  <a:gd name="connsiteY20" fmla="*/ 73860 h 89916"/>
                  <a:gd name="connsiteX21" fmla="*/ 80041 w 156480"/>
                  <a:gd name="connsiteY21" fmla="*/ 69846 h 89916"/>
                  <a:gd name="connsiteX22" fmla="*/ 80441 w 156480"/>
                  <a:gd name="connsiteY22" fmla="*/ 69444 h 89916"/>
                  <a:gd name="connsiteX23" fmla="*/ 98051 w 156480"/>
                  <a:gd name="connsiteY23" fmla="*/ 59008 h 89916"/>
                  <a:gd name="connsiteX24" fmla="*/ 100052 w 156480"/>
                  <a:gd name="connsiteY24" fmla="*/ 64627 h 89916"/>
                  <a:gd name="connsiteX25" fmla="*/ 84444 w 156480"/>
                  <a:gd name="connsiteY25" fmla="*/ 73458 h 89916"/>
                  <a:gd name="connsiteX26" fmla="*/ 84444 w 156480"/>
                  <a:gd name="connsiteY26" fmla="*/ 73860 h 89916"/>
                  <a:gd name="connsiteX27" fmla="*/ 129667 w 156480"/>
                  <a:gd name="connsiteY27" fmla="*/ 65029 h 89916"/>
                  <a:gd name="connsiteX28" fmla="*/ 111658 w 156480"/>
                  <a:gd name="connsiteY28" fmla="*/ 62219 h 89916"/>
                  <a:gd name="connsiteX29" fmla="*/ 111257 w 156480"/>
                  <a:gd name="connsiteY29" fmla="*/ 56198 h 89916"/>
                  <a:gd name="connsiteX30" fmla="*/ 132468 w 156480"/>
                  <a:gd name="connsiteY30" fmla="*/ 59409 h 89916"/>
                  <a:gd name="connsiteX31" fmla="*/ 129667 w 156480"/>
                  <a:gd name="connsiteY31" fmla="*/ 65029 h 89916"/>
                  <a:gd name="connsiteX32" fmla="*/ 6003 w 156480"/>
                  <a:gd name="connsiteY32" fmla="*/ 43754 h 89916"/>
                  <a:gd name="connsiteX33" fmla="*/ 0 w 156480"/>
                  <a:gd name="connsiteY33" fmla="*/ 43754 h 89916"/>
                  <a:gd name="connsiteX34" fmla="*/ 6403 w 156480"/>
                  <a:gd name="connsiteY34" fmla="*/ 23282 h 89916"/>
                  <a:gd name="connsiteX35" fmla="*/ 11606 w 156480"/>
                  <a:gd name="connsiteY35" fmla="*/ 26493 h 89916"/>
                  <a:gd name="connsiteX36" fmla="*/ 6003 w 156480"/>
                  <a:gd name="connsiteY36" fmla="*/ 43754 h 89916"/>
                  <a:gd name="connsiteX37" fmla="*/ 18810 w 156480"/>
                  <a:gd name="connsiteY37" fmla="*/ 17261 h 89916"/>
                  <a:gd name="connsiteX38" fmla="*/ 14407 w 156480"/>
                  <a:gd name="connsiteY38" fmla="*/ 13247 h 89916"/>
                  <a:gd name="connsiteX39" fmla="*/ 30416 w 156480"/>
                  <a:gd name="connsiteY39" fmla="*/ 0 h 89916"/>
                  <a:gd name="connsiteX40" fmla="*/ 33617 w 156480"/>
                  <a:gd name="connsiteY40" fmla="*/ 5218 h 89916"/>
                  <a:gd name="connsiteX41" fmla="*/ 18810 w 156480"/>
                  <a:gd name="connsiteY41" fmla="*/ 17261 h 89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56480" h="89916">
                    <a:moveTo>
                      <a:pt x="55228" y="89916"/>
                    </a:moveTo>
                    <a:lnTo>
                      <a:pt x="54428" y="83895"/>
                    </a:lnTo>
                    <a:cubicBezTo>
                      <a:pt x="60431" y="83092"/>
                      <a:pt x="66434" y="80684"/>
                      <a:pt x="71637" y="77071"/>
                    </a:cubicBezTo>
                    <a:lnTo>
                      <a:pt x="74839" y="81888"/>
                    </a:lnTo>
                    <a:cubicBezTo>
                      <a:pt x="68835" y="86304"/>
                      <a:pt x="62032" y="89113"/>
                      <a:pt x="55228" y="89916"/>
                    </a:cubicBezTo>
                    <a:close/>
                    <a:moveTo>
                      <a:pt x="42422" y="89515"/>
                    </a:moveTo>
                    <a:cubicBezTo>
                      <a:pt x="34018" y="88311"/>
                      <a:pt x="27214" y="85099"/>
                      <a:pt x="22412" y="82691"/>
                    </a:cubicBezTo>
                    <a:lnTo>
                      <a:pt x="25213" y="77472"/>
                    </a:lnTo>
                    <a:cubicBezTo>
                      <a:pt x="29215" y="79881"/>
                      <a:pt x="35618" y="82691"/>
                      <a:pt x="43222" y="83494"/>
                    </a:cubicBezTo>
                    <a:lnTo>
                      <a:pt x="42422" y="89515"/>
                    </a:lnTo>
                    <a:close/>
                    <a:moveTo>
                      <a:pt x="151678" y="84698"/>
                    </a:moveTo>
                    <a:cubicBezTo>
                      <a:pt x="147676" y="79078"/>
                      <a:pt x="143674" y="74663"/>
                      <a:pt x="139272" y="71050"/>
                    </a:cubicBezTo>
                    <a:lnTo>
                      <a:pt x="142874" y="66233"/>
                    </a:lnTo>
                    <a:cubicBezTo>
                      <a:pt x="147676" y="70247"/>
                      <a:pt x="152078" y="75064"/>
                      <a:pt x="156481" y="81085"/>
                    </a:cubicBezTo>
                    <a:lnTo>
                      <a:pt x="151678" y="84698"/>
                    </a:lnTo>
                    <a:close/>
                    <a:moveTo>
                      <a:pt x="12406" y="74663"/>
                    </a:moveTo>
                    <a:cubicBezTo>
                      <a:pt x="7204" y="68641"/>
                      <a:pt x="4002" y="62620"/>
                      <a:pt x="2001" y="56198"/>
                    </a:cubicBezTo>
                    <a:lnTo>
                      <a:pt x="7604" y="54592"/>
                    </a:lnTo>
                    <a:cubicBezTo>
                      <a:pt x="9205" y="59810"/>
                      <a:pt x="12406" y="65430"/>
                      <a:pt x="16809" y="70648"/>
                    </a:cubicBezTo>
                    <a:lnTo>
                      <a:pt x="12406" y="74663"/>
                    </a:lnTo>
                    <a:close/>
                    <a:moveTo>
                      <a:pt x="84444" y="73860"/>
                    </a:moveTo>
                    <a:lnTo>
                      <a:pt x="80041" y="69846"/>
                    </a:lnTo>
                    <a:lnTo>
                      <a:pt x="80441" y="69444"/>
                    </a:lnTo>
                    <a:cubicBezTo>
                      <a:pt x="80842" y="69043"/>
                      <a:pt x="87645" y="63022"/>
                      <a:pt x="98051" y="59008"/>
                    </a:cubicBezTo>
                    <a:lnTo>
                      <a:pt x="100052" y="64627"/>
                    </a:lnTo>
                    <a:cubicBezTo>
                      <a:pt x="90847" y="67839"/>
                      <a:pt x="84444" y="73458"/>
                      <a:pt x="84444" y="73458"/>
                    </a:cubicBezTo>
                    <a:lnTo>
                      <a:pt x="84444" y="73860"/>
                    </a:lnTo>
                    <a:close/>
                    <a:moveTo>
                      <a:pt x="129667" y="65029"/>
                    </a:moveTo>
                    <a:cubicBezTo>
                      <a:pt x="124064" y="62620"/>
                      <a:pt x="117661" y="61416"/>
                      <a:pt x="111658" y="62219"/>
                    </a:cubicBezTo>
                    <a:lnTo>
                      <a:pt x="111257" y="56198"/>
                    </a:lnTo>
                    <a:cubicBezTo>
                      <a:pt x="118061" y="55395"/>
                      <a:pt x="125665" y="56599"/>
                      <a:pt x="132468" y="59409"/>
                    </a:cubicBezTo>
                    <a:lnTo>
                      <a:pt x="129667" y="65029"/>
                    </a:lnTo>
                    <a:close/>
                    <a:moveTo>
                      <a:pt x="6003" y="43754"/>
                    </a:moveTo>
                    <a:lnTo>
                      <a:pt x="0" y="43754"/>
                    </a:lnTo>
                    <a:cubicBezTo>
                      <a:pt x="400" y="36930"/>
                      <a:pt x="2401" y="30106"/>
                      <a:pt x="6403" y="23282"/>
                    </a:cubicBezTo>
                    <a:lnTo>
                      <a:pt x="11606" y="26493"/>
                    </a:lnTo>
                    <a:cubicBezTo>
                      <a:pt x="8004" y="32113"/>
                      <a:pt x="6403" y="38134"/>
                      <a:pt x="6003" y="43754"/>
                    </a:cubicBezTo>
                    <a:close/>
                    <a:moveTo>
                      <a:pt x="18810" y="17261"/>
                    </a:moveTo>
                    <a:lnTo>
                      <a:pt x="14407" y="13247"/>
                    </a:lnTo>
                    <a:cubicBezTo>
                      <a:pt x="22011" y="4817"/>
                      <a:pt x="30015" y="0"/>
                      <a:pt x="30416" y="0"/>
                    </a:cubicBezTo>
                    <a:lnTo>
                      <a:pt x="33617" y="5218"/>
                    </a:lnTo>
                    <a:cubicBezTo>
                      <a:pt x="33217" y="5218"/>
                      <a:pt x="25613" y="9634"/>
                      <a:pt x="18810" y="17261"/>
                    </a:cubicBez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9AA19FEA-2625-4931-91B2-6527B7BFB25B}"/>
                  </a:ext>
                </a:extLst>
              </p:cNvPr>
              <p:cNvSpPr/>
              <p:nvPr/>
            </p:nvSpPr>
            <p:spPr>
              <a:xfrm>
                <a:off x="4791049" y="2071543"/>
                <a:ext cx="121662" cy="91923"/>
              </a:xfrm>
              <a:custGeom>
                <a:avLst/>
                <a:gdLst>
                  <a:gd name="connsiteX0" fmla="*/ 119662 w 121662"/>
                  <a:gd name="connsiteY0" fmla="*/ 91923 h 91923"/>
                  <a:gd name="connsiteX1" fmla="*/ 113659 w 121662"/>
                  <a:gd name="connsiteY1" fmla="*/ 91120 h 91923"/>
                  <a:gd name="connsiteX2" fmla="*/ 115660 w 121662"/>
                  <a:gd name="connsiteY2" fmla="*/ 71451 h 91923"/>
                  <a:gd name="connsiteX3" fmla="*/ 121663 w 121662"/>
                  <a:gd name="connsiteY3" fmla="*/ 71451 h 91923"/>
                  <a:gd name="connsiteX4" fmla="*/ 119662 w 121662"/>
                  <a:gd name="connsiteY4" fmla="*/ 91923 h 91923"/>
                  <a:gd name="connsiteX5" fmla="*/ 7604 w 121662"/>
                  <a:gd name="connsiteY5" fmla="*/ 86304 h 91923"/>
                  <a:gd name="connsiteX6" fmla="*/ 2001 w 121662"/>
                  <a:gd name="connsiteY6" fmla="*/ 66634 h 91923"/>
                  <a:gd name="connsiteX7" fmla="*/ 8004 w 121662"/>
                  <a:gd name="connsiteY7" fmla="*/ 65430 h 91923"/>
                  <a:gd name="connsiteX8" fmla="*/ 13207 w 121662"/>
                  <a:gd name="connsiteY8" fmla="*/ 84296 h 91923"/>
                  <a:gd name="connsiteX9" fmla="*/ 7604 w 121662"/>
                  <a:gd name="connsiteY9" fmla="*/ 86304 h 91923"/>
                  <a:gd name="connsiteX10" fmla="*/ 115259 w 121662"/>
                  <a:gd name="connsiteY10" fmla="*/ 59810 h 91923"/>
                  <a:gd name="connsiteX11" fmla="*/ 111658 w 121662"/>
                  <a:gd name="connsiteY11" fmla="*/ 40944 h 91923"/>
                  <a:gd name="connsiteX12" fmla="*/ 117260 w 121662"/>
                  <a:gd name="connsiteY12" fmla="*/ 38937 h 91923"/>
                  <a:gd name="connsiteX13" fmla="*/ 121263 w 121662"/>
                  <a:gd name="connsiteY13" fmla="*/ 59409 h 91923"/>
                  <a:gd name="connsiteX14" fmla="*/ 115259 w 121662"/>
                  <a:gd name="connsiteY14" fmla="*/ 59810 h 91923"/>
                  <a:gd name="connsiteX15" fmla="*/ 400 w 121662"/>
                  <a:gd name="connsiteY15" fmla="*/ 54191 h 91923"/>
                  <a:gd name="connsiteX16" fmla="*/ 0 w 121662"/>
                  <a:gd name="connsiteY16" fmla="*/ 47367 h 91923"/>
                  <a:gd name="connsiteX17" fmla="*/ 1601 w 121662"/>
                  <a:gd name="connsiteY17" fmla="*/ 33317 h 91923"/>
                  <a:gd name="connsiteX18" fmla="*/ 7604 w 121662"/>
                  <a:gd name="connsiteY18" fmla="*/ 34521 h 91923"/>
                  <a:gd name="connsiteX19" fmla="*/ 6403 w 121662"/>
                  <a:gd name="connsiteY19" fmla="*/ 47367 h 91923"/>
                  <a:gd name="connsiteX20" fmla="*/ 6804 w 121662"/>
                  <a:gd name="connsiteY20" fmla="*/ 53789 h 91923"/>
                  <a:gd name="connsiteX21" fmla="*/ 400 w 121662"/>
                  <a:gd name="connsiteY21" fmla="*/ 54191 h 91923"/>
                  <a:gd name="connsiteX22" fmla="*/ 106855 w 121662"/>
                  <a:gd name="connsiteY22" fmla="*/ 30507 h 91923"/>
                  <a:gd name="connsiteX23" fmla="*/ 94048 w 121662"/>
                  <a:gd name="connsiteY23" fmla="*/ 16859 h 91923"/>
                  <a:gd name="connsiteX24" fmla="*/ 97250 w 121662"/>
                  <a:gd name="connsiteY24" fmla="*/ 12042 h 91923"/>
                  <a:gd name="connsiteX25" fmla="*/ 112058 w 121662"/>
                  <a:gd name="connsiteY25" fmla="*/ 27296 h 91923"/>
                  <a:gd name="connsiteX26" fmla="*/ 106855 w 121662"/>
                  <a:gd name="connsiteY26" fmla="*/ 30507 h 91923"/>
                  <a:gd name="connsiteX27" fmla="*/ 11206 w 121662"/>
                  <a:gd name="connsiteY27" fmla="*/ 24085 h 91923"/>
                  <a:gd name="connsiteX28" fmla="*/ 6003 w 121662"/>
                  <a:gd name="connsiteY28" fmla="*/ 21275 h 91923"/>
                  <a:gd name="connsiteX29" fmla="*/ 21611 w 121662"/>
                  <a:gd name="connsiteY29" fmla="*/ 6423 h 91923"/>
                  <a:gd name="connsiteX30" fmla="*/ 24012 w 121662"/>
                  <a:gd name="connsiteY30" fmla="*/ 11641 h 91923"/>
                  <a:gd name="connsiteX31" fmla="*/ 11206 w 121662"/>
                  <a:gd name="connsiteY31" fmla="*/ 24085 h 91923"/>
                  <a:gd name="connsiteX32" fmla="*/ 84043 w 121662"/>
                  <a:gd name="connsiteY32" fmla="*/ 11641 h 91923"/>
                  <a:gd name="connsiteX33" fmla="*/ 65634 w 121662"/>
                  <a:gd name="connsiteY33" fmla="*/ 6824 h 91923"/>
                  <a:gd name="connsiteX34" fmla="*/ 66434 w 121662"/>
                  <a:gd name="connsiteY34" fmla="*/ 803 h 91923"/>
                  <a:gd name="connsiteX35" fmla="*/ 86445 w 121662"/>
                  <a:gd name="connsiteY35" fmla="*/ 6021 h 91923"/>
                  <a:gd name="connsiteX36" fmla="*/ 84043 w 121662"/>
                  <a:gd name="connsiteY36" fmla="*/ 11641 h 91923"/>
                  <a:gd name="connsiteX37" fmla="*/ 34818 w 121662"/>
                  <a:gd name="connsiteY37" fmla="*/ 8028 h 91923"/>
                  <a:gd name="connsiteX38" fmla="*/ 33617 w 121662"/>
                  <a:gd name="connsiteY38" fmla="*/ 2007 h 91923"/>
                  <a:gd name="connsiteX39" fmla="*/ 34818 w 121662"/>
                  <a:gd name="connsiteY39" fmla="*/ 1606 h 91923"/>
                  <a:gd name="connsiteX40" fmla="*/ 54028 w 121662"/>
                  <a:gd name="connsiteY40" fmla="*/ 0 h 91923"/>
                  <a:gd name="connsiteX41" fmla="*/ 54028 w 121662"/>
                  <a:gd name="connsiteY41" fmla="*/ 6021 h 91923"/>
                  <a:gd name="connsiteX42" fmla="*/ 36019 w 121662"/>
                  <a:gd name="connsiteY42" fmla="*/ 7627 h 91923"/>
                  <a:gd name="connsiteX43" fmla="*/ 34818 w 121662"/>
                  <a:gd name="connsiteY43" fmla="*/ 8028 h 91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1662" h="91923">
                    <a:moveTo>
                      <a:pt x="119662" y="91923"/>
                    </a:moveTo>
                    <a:lnTo>
                      <a:pt x="113659" y="91120"/>
                    </a:lnTo>
                    <a:cubicBezTo>
                      <a:pt x="114859" y="84296"/>
                      <a:pt x="115259" y="77472"/>
                      <a:pt x="115660" y="71451"/>
                    </a:cubicBezTo>
                    <a:lnTo>
                      <a:pt x="121663" y="71451"/>
                    </a:lnTo>
                    <a:cubicBezTo>
                      <a:pt x="121263" y="77874"/>
                      <a:pt x="120862" y="84698"/>
                      <a:pt x="119662" y="91923"/>
                    </a:cubicBezTo>
                    <a:close/>
                    <a:moveTo>
                      <a:pt x="7604" y="86304"/>
                    </a:moveTo>
                    <a:cubicBezTo>
                      <a:pt x="7604" y="85902"/>
                      <a:pt x="4002" y="77874"/>
                      <a:pt x="2001" y="66634"/>
                    </a:cubicBezTo>
                    <a:lnTo>
                      <a:pt x="8004" y="65430"/>
                    </a:lnTo>
                    <a:cubicBezTo>
                      <a:pt x="10005" y="76268"/>
                      <a:pt x="13207" y="84296"/>
                      <a:pt x="13207" y="84296"/>
                    </a:cubicBezTo>
                    <a:lnTo>
                      <a:pt x="7604" y="86304"/>
                    </a:lnTo>
                    <a:close/>
                    <a:moveTo>
                      <a:pt x="115259" y="59810"/>
                    </a:moveTo>
                    <a:cubicBezTo>
                      <a:pt x="114859" y="52986"/>
                      <a:pt x="113659" y="46564"/>
                      <a:pt x="111658" y="40944"/>
                    </a:cubicBezTo>
                    <a:lnTo>
                      <a:pt x="117260" y="38937"/>
                    </a:lnTo>
                    <a:cubicBezTo>
                      <a:pt x="119261" y="44958"/>
                      <a:pt x="120862" y="51782"/>
                      <a:pt x="121263" y="59409"/>
                    </a:cubicBezTo>
                    <a:lnTo>
                      <a:pt x="115259" y="59810"/>
                    </a:lnTo>
                    <a:close/>
                    <a:moveTo>
                      <a:pt x="400" y="54191"/>
                    </a:moveTo>
                    <a:cubicBezTo>
                      <a:pt x="400" y="51782"/>
                      <a:pt x="0" y="49374"/>
                      <a:pt x="0" y="47367"/>
                    </a:cubicBezTo>
                    <a:cubicBezTo>
                      <a:pt x="0" y="42550"/>
                      <a:pt x="400" y="37733"/>
                      <a:pt x="1601" y="33317"/>
                    </a:cubicBezTo>
                    <a:lnTo>
                      <a:pt x="7604" y="34521"/>
                    </a:lnTo>
                    <a:cubicBezTo>
                      <a:pt x="6804" y="38536"/>
                      <a:pt x="6403" y="42550"/>
                      <a:pt x="6403" y="47367"/>
                    </a:cubicBezTo>
                    <a:cubicBezTo>
                      <a:pt x="6403" y="49374"/>
                      <a:pt x="6403" y="51782"/>
                      <a:pt x="6804" y="53789"/>
                    </a:cubicBezTo>
                    <a:lnTo>
                      <a:pt x="400" y="54191"/>
                    </a:lnTo>
                    <a:close/>
                    <a:moveTo>
                      <a:pt x="106855" y="30507"/>
                    </a:moveTo>
                    <a:cubicBezTo>
                      <a:pt x="103653" y="25289"/>
                      <a:pt x="99251" y="20472"/>
                      <a:pt x="94048" y="16859"/>
                    </a:cubicBezTo>
                    <a:lnTo>
                      <a:pt x="97250" y="12042"/>
                    </a:lnTo>
                    <a:cubicBezTo>
                      <a:pt x="103253" y="16056"/>
                      <a:pt x="108056" y="21275"/>
                      <a:pt x="112058" y="27296"/>
                    </a:cubicBezTo>
                    <a:lnTo>
                      <a:pt x="106855" y="30507"/>
                    </a:lnTo>
                    <a:close/>
                    <a:moveTo>
                      <a:pt x="11206" y="24085"/>
                    </a:moveTo>
                    <a:lnTo>
                      <a:pt x="6003" y="21275"/>
                    </a:lnTo>
                    <a:cubicBezTo>
                      <a:pt x="9605" y="14852"/>
                      <a:pt x="14808" y="10035"/>
                      <a:pt x="21611" y="6423"/>
                    </a:cubicBezTo>
                    <a:lnTo>
                      <a:pt x="24012" y="11641"/>
                    </a:lnTo>
                    <a:cubicBezTo>
                      <a:pt x="18409" y="14451"/>
                      <a:pt x="14007" y="18866"/>
                      <a:pt x="11206" y="24085"/>
                    </a:cubicBezTo>
                    <a:close/>
                    <a:moveTo>
                      <a:pt x="84043" y="11641"/>
                    </a:moveTo>
                    <a:cubicBezTo>
                      <a:pt x="78440" y="9232"/>
                      <a:pt x="72437" y="7627"/>
                      <a:pt x="65634" y="6824"/>
                    </a:cubicBezTo>
                    <a:lnTo>
                      <a:pt x="66434" y="803"/>
                    </a:lnTo>
                    <a:cubicBezTo>
                      <a:pt x="73638" y="1606"/>
                      <a:pt x="80441" y="3613"/>
                      <a:pt x="86445" y="6021"/>
                    </a:cubicBezTo>
                    <a:lnTo>
                      <a:pt x="84043" y="11641"/>
                    </a:lnTo>
                    <a:close/>
                    <a:moveTo>
                      <a:pt x="34818" y="8028"/>
                    </a:moveTo>
                    <a:lnTo>
                      <a:pt x="33617" y="2007"/>
                    </a:lnTo>
                    <a:lnTo>
                      <a:pt x="34818" y="1606"/>
                    </a:lnTo>
                    <a:cubicBezTo>
                      <a:pt x="35218" y="1606"/>
                      <a:pt x="42822" y="0"/>
                      <a:pt x="54028" y="0"/>
                    </a:cubicBezTo>
                    <a:lnTo>
                      <a:pt x="54028" y="6021"/>
                    </a:lnTo>
                    <a:cubicBezTo>
                      <a:pt x="43622" y="6021"/>
                      <a:pt x="36019" y="7627"/>
                      <a:pt x="36019" y="7627"/>
                    </a:cubicBezTo>
                    <a:lnTo>
                      <a:pt x="34818" y="8028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2E9E309E-4079-4615-B1D7-F9C25E439352}"/>
                  </a:ext>
                </a:extLst>
              </p:cNvPr>
              <p:cNvSpPr/>
              <p:nvPr/>
            </p:nvSpPr>
            <p:spPr>
              <a:xfrm>
                <a:off x="4738222" y="2125332"/>
                <a:ext cx="26413" cy="26493"/>
              </a:xfrm>
              <a:custGeom>
                <a:avLst/>
                <a:gdLst>
                  <a:gd name="connsiteX0" fmla="*/ 13207 w 26413"/>
                  <a:gd name="connsiteY0" fmla="*/ 26493 h 26493"/>
                  <a:gd name="connsiteX1" fmla="*/ 0 w 26413"/>
                  <a:gd name="connsiteY1" fmla="*/ 13247 h 26493"/>
                  <a:gd name="connsiteX2" fmla="*/ 13207 w 26413"/>
                  <a:gd name="connsiteY2" fmla="*/ 0 h 26493"/>
                  <a:gd name="connsiteX3" fmla="*/ 26414 w 26413"/>
                  <a:gd name="connsiteY3" fmla="*/ 13247 h 26493"/>
                  <a:gd name="connsiteX4" fmla="*/ 13207 w 26413"/>
                  <a:gd name="connsiteY4" fmla="*/ 26493 h 26493"/>
                  <a:gd name="connsiteX5" fmla="*/ 13207 w 26413"/>
                  <a:gd name="connsiteY5" fmla="*/ 5620 h 26493"/>
                  <a:gd name="connsiteX6" fmla="*/ 6003 w 26413"/>
                  <a:gd name="connsiteY6" fmla="*/ 12845 h 26493"/>
                  <a:gd name="connsiteX7" fmla="*/ 13207 w 26413"/>
                  <a:gd name="connsiteY7" fmla="*/ 20071 h 26493"/>
                  <a:gd name="connsiteX8" fmla="*/ 20411 w 26413"/>
                  <a:gd name="connsiteY8" fmla="*/ 12845 h 26493"/>
                  <a:gd name="connsiteX9" fmla="*/ 13207 w 26413"/>
                  <a:gd name="connsiteY9" fmla="*/ 5620 h 26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413" h="26493">
                    <a:moveTo>
                      <a:pt x="13207" y="26493"/>
                    </a:moveTo>
                    <a:cubicBezTo>
                      <a:pt x="6003" y="26493"/>
                      <a:pt x="0" y="20472"/>
                      <a:pt x="0" y="13247"/>
                    </a:cubicBezTo>
                    <a:cubicBezTo>
                      <a:pt x="0" y="6021"/>
                      <a:pt x="6003" y="0"/>
                      <a:pt x="13207" y="0"/>
                    </a:cubicBezTo>
                    <a:cubicBezTo>
                      <a:pt x="20411" y="0"/>
                      <a:pt x="26414" y="6021"/>
                      <a:pt x="26414" y="13247"/>
                    </a:cubicBezTo>
                    <a:cubicBezTo>
                      <a:pt x="26414" y="20472"/>
                      <a:pt x="20411" y="26493"/>
                      <a:pt x="13207" y="26493"/>
                    </a:cubicBezTo>
                    <a:close/>
                    <a:moveTo>
                      <a:pt x="13207" y="5620"/>
                    </a:moveTo>
                    <a:cubicBezTo>
                      <a:pt x="9205" y="5620"/>
                      <a:pt x="6003" y="8831"/>
                      <a:pt x="6003" y="12845"/>
                    </a:cubicBezTo>
                    <a:cubicBezTo>
                      <a:pt x="6003" y="16859"/>
                      <a:pt x="9205" y="20071"/>
                      <a:pt x="13207" y="20071"/>
                    </a:cubicBezTo>
                    <a:cubicBezTo>
                      <a:pt x="17209" y="20071"/>
                      <a:pt x="20411" y="16859"/>
                      <a:pt x="20411" y="12845"/>
                    </a:cubicBezTo>
                    <a:cubicBezTo>
                      <a:pt x="20411" y="8831"/>
                      <a:pt x="17209" y="5620"/>
                      <a:pt x="13207" y="5620"/>
                    </a:cubicBez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C6DD328F-849A-4339-A9B4-227D6F3C6E15}"/>
                  </a:ext>
                </a:extLst>
              </p:cNvPr>
              <p:cNvSpPr/>
              <p:nvPr/>
            </p:nvSpPr>
            <p:spPr>
              <a:xfrm>
                <a:off x="4719112" y="2111684"/>
                <a:ext cx="26113" cy="24887"/>
              </a:xfrm>
              <a:custGeom>
                <a:avLst/>
                <a:gdLst>
                  <a:gd name="connsiteX0" fmla="*/ 23112 w 26113"/>
                  <a:gd name="connsiteY0" fmla="*/ 24888 h 24887"/>
                  <a:gd name="connsiteX1" fmla="*/ 22712 w 26113"/>
                  <a:gd name="connsiteY1" fmla="*/ 24888 h 24887"/>
                  <a:gd name="connsiteX2" fmla="*/ 2301 w 26113"/>
                  <a:gd name="connsiteY2" fmla="*/ 20873 h 24887"/>
                  <a:gd name="connsiteX3" fmla="*/ 300 w 26113"/>
                  <a:gd name="connsiteY3" fmla="*/ 19268 h 24887"/>
                  <a:gd name="connsiteX4" fmla="*/ 300 w 26113"/>
                  <a:gd name="connsiteY4" fmla="*/ 16458 h 24887"/>
                  <a:gd name="connsiteX5" fmla="*/ 8304 w 26113"/>
                  <a:gd name="connsiteY5" fmla="*/ 1204 h 24887"/>
                  <a:gd name="connsiteX6" fmla="*/ 10305 w 26113"/>
                  <a:gd name="connsiteY6" fmla="*/ 0 h 24887"/>
                  <a:gd name="connsiteX7" fmla="*/ 13107 w 26113"/>
                  <a:gd name="connsiteY7" fmla="*/ 1204 h 24887"/>
                  <a:gd name="connsiteX8" fmla="*/ 25513 w 26113"/>
                  <a:gd name="connsiteY8" fmla="*/ 20472 h 24887"/>
                  <a:gd name="connsiteX9" fmla="*/ 25513 w 26113"/>
                  <a:gd name="connsiteY9" fmla="*/ 23683 h 24887"/>
                  <a:gd name="connsiteX10" fmla="*/ 23112 w 26113"/>
                  <a:gd name="connsiteY10" fmla="*/ 24888 h 24887"/>
                  <a:gd name="connsiteX11" fmla="*/ 7104 w 26113"/>
                  <a:gd name="connsiteY11" fmla="*/ 15655 h 24887"/>
                  <a:gd name="connsiteX12" fmla="*/ 16709 w 26113"/>
                  <a:gd name="connsiteY12" fmla="*/ 17662 h 24887"/>
                  <a:gd name="connsiteX13" fmla="*/ 11106 w 26113"/>
                  <a:gd name="connsiteY13" fmla="*/ 8831 h 24887"/>
                  <a:gd name="connsiteX14" fmla="*/ 7104 w 26113"/>
                  <a:gd name="connsiteY14" fmla="*/ 15655 h 2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113" h="24887">
                    <a:moveTo>
                      <a:pt x="23112" y="24888"/>
                    </a:moveTo>
                    <a:cubicBezTo>
                      <a:pt x="23112" y="24888"/>
                      <a:pt x="22712" y="24888"/>
                      <a:pt x="22712" y="24888"/>
                    </a:cubicBezTo>
                    <a:lnTo>
                      <a:pt x="2301" y="20873"/>
                    </a:lnTo>
                    <a:cubicBezTo>
                      <a:pt x="1501" y="20873"/>
                      <a:pt x="700" y="20071"/>
                      <a:pt x="300" y="19268"/>
                    </a:cubicBezTo>
                    <a:cubicBezTo>
                      <a:pt x="-100" y="18465"/>
                      <a:pt x="-100" y="17261"/>
                      <a:pt x="300" y="16458"/>
                    </a:cubicBezTo>
                    <a:lnTo>
                      <a:pt x="8304" y="1204"/>
                    </a:lnTo>
                    <a:cubicBezTo>
                      <a:pt x="8304" y="401"/>
                      <a:pt x="9505" y="0"/>
                      <a:pt x="10305" y="0"/>
                    </a:cubicBezTo>
                    <a:cubicBezTo>
                      <a:pt x="11506" y="0"/>
                      <a:pt x="12306" y="401"/>
                      <a:pt x="13107" y="1204"/>
                    </a:cubicBezTo>
                    <a:lnTo>
                      <a:pt x="25513" y="20472"/>
                    </a:lnTo>
                    <a:cubicBezTo>
                      <a:pt x="26314" y="21676"/>
                      <a:pt x="26314" y="22880"/>
                      <a:pt x="25513" y="23683"/>
                    </a:cubicBezTo>
                    <a:cubicBezTo>
                      <a:pt x="24713" y="24486"/>
                      <a:pt x="23912" y="24888"/>
                      <a:pt x="23112" y="24888"/>
                    </a:cubicBezTo>
                    <a:close/>
                    <a:moveTo>
                      <a:pt x="7104" y="15655"/>
                    </a:moveTo>
                    <a:lnTo>
                      <a:pt x="16709" y="17662"/>
                    </a:lnTo>
                    <a:lnTo>
                      <a:pt x="11106" y="8831"/>
                    </a:lnTo>
                    <a:lnTo>
                      <a:pt x="7104" y="15655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154A7688-C713-4AE6-96A6-7DF63C8C09BD}"/>
                  </a:ext>
                </a:extLst>
              </p:cNvPr>
              <p:cNvSpPr/>
              <p:nvPr/>
            </p:nvSpPr>
            <p:spPr>
              <a:xfrm>
                <a:off x="4756368" y="2137374"/>
                <a:ext cx="27339" cy="24887"/>
              </a:xfrm>
              <a:custGeom>
                <a:avLst/>
                <a:gdLst>
                  <a:gd name="connsiteX0" fmla="*/ 15871 w 27339"/>
                  <a:gd name="connsiteY0" fmla="*/ 24888 h 24887"/>
                  <a:gd name="connsiteX1" fmla="*/ 13470 w 27339"/>
                  <a:gd name="connsiteY1" fmla="*/ 23683 h 24887"/>
                  <a:gd name="connsiteX2" fmla="*/ 663 w 27339"/>
                  <a:gd name="connsiteY2" fmla="*/ 8028 h 24887"/>
                  <a:gd name="connsiteX3" fmla="*/ 263 w 27339"/>
                  <a:gd name="connsiteY3" fmla="*/ 5218 h 24887"/>
                  <a:gd name="connsiteX4" fmla="*/ 2664 w 27339"/>
                  <a:gd name="connsiteY4" fmla="*/ 3211 h 24887"/>
                  <a:gd name="connsiteX5" fmla="*/ 23875 w 27339"/>
                  <a:gd name="connsiteY5" fmla="*/ 0 h 24887"/>
                  <a:gd name="connsiteX6" fmla="*/ 26676 w 27339"/>
                  <a:gd name="connsiteY6" fmla="*/ 1204 h 24887"/>
                  <a:gd name="connsiteX7" fmla="*/ 27077 w 27339"/>
                  <a:gd name="connsiteY7" fmla="*/ 4416 h 24887"/>
                  <a:gd name="connsiteX8" fmla="*/ 18672 w 27339"/>
                  <a:gd name="connsiteY8" fmla="*/ 22880 h 24887"/>
                  <a:gd name="connsiteX9" fmla="*/ 15871 w 27339"/>
                  <a:gd name="connsiteY9" fmla="*/ 24888 h 24887"/>
                  <a:gd name="connsiteX10" fmla="*/ 15871 w 27339"/>
                  <a:gd name="connsiteY10" fmla="*/ 24888 h 24887"/>
                  <a:gd name="connsiteX11" fmla="*/ 8667 w 27339"/>
                  <a:gd name="connsiteY11" fmla="*/ 8028 h 24887"/>
                  <a:gd name="connsiteX12" fmla="*/ 15071 w 27339"/>
                  <a:gd name="connsiteY12" fmla="*/ 16056 h 24887"/>
                  <a:gd name="connsiteX13" fmla="*/ 19473 w 27339"/>
                  <a:gd name="connsiteY13" fmla="*/ 6423 h 24887"/>
                  <a:gd name="connsiteX14" fmla="*/ 8667 w 27339"/>
                  <a:gd name="connsiteY14" fmla="*/ 8028 h 2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339" h="24887">
                    <a:moveTo>
                      <a:pt x="15871" y="24888"/>
                    </a:moveTo>
                    <a:cubicBezTo>
                      <a:pt x="15071" y="24888"/>
                      <a:pt x="14270" y="24486"/>
                      <a:pt x="13470" y="23683"/>
                    </a:cubicBezTo>
                    <a:lnTo>
                      <a:pt x="663" y="8028"/>
                    </a:lnTo>
                    <a:cubicBezTo>
                      <a:pt x="-137" y="7225"/>
                      <a:pt x="-137" y="6021"/>
                      <a:pt x="263" y="5218"/>
                    </a:cubicBezTo>
                    <a:cubicBezTo>
                      <a:pt x="663" y="4014"/>
                      <a:pt x="1463" y="3613"/>
                      <a:pt x="2664" y="3211"/>
                    </a:cubicBezTo>
                    <a:lnTo>
                      <a:pt x="23875" y="0"/>
                    </a:lnTo>
                    <a:cubicBezTo>
                      <a:pt x="25076" y="0"/>
                      <a:pt x="25876" y="401"/>
                      <a:pt x="26676" y="1204"/>
                    </a:cubicBezTo>
                    <a:cubicBezTo>
                      <a:pt x="27477" y="2007"/>
                      <a:pt x="27477" y="3211"/>
                      <a:pt x="27077" y="4416"/>
                    </a:cubicBezTo>
                    <a:lnTo>
                      <a:pt x="18672" y="22880"/>
                    </a:lnTo>
                    <a:cubicBezTo>
                      <a:pt x="18272" y="23683"/>
                      <a:pt x="17072" y="24486"/>
                      <a:pt x="15871" y="24888"/>
                    </a:cubicBezTo>
                    <a:cubicBezTo>
                      <a:pt x="16271" y="24888"/>
                      <a:pt x="15871" y="24888"/>
                      <a:pt x="15871" y="24888"/>
                    </a:cubicBezTo>
                    <a:close/>
                    <a:moveTo>
                      <a:pt x="8667" y="8028"/>
                    </a:moveTo>
                    <a:lnTo>
                      <a:pt x="15071" y="16056"/>
                    </a:lnTo>
                    <a:lnTo>
                      <a:pt x="19473" y="6423"/>
                    </a:lnTo>
                    <a:lnTo>
                      <a:pt x="8667" y="8028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82D1CADA-2BBD-48EC-9E5B-7A45D7469F6E}"/>
                  </a:ext>
                </a:extLst>
              </p:cNvPr>
              <p:cNvSpPr/>
              <p:nvPr/>
            </p:nvSpPr>
            <p:spPr>
              <a:xfrm>
                <a:off x="4888623" y="2169411"/>
                <a:ext cx="26841" cy="26970"/>
              </a:xfrm>
              <a:custGeom>
                <a:avLst/>
                <a:gdLst>
                  <a:gd name="connsiteX0" fmla="*/ 13683 w 26841"/>
                  <a:gd name="connsiteY0" fmla="*/ 26971 h 26970"/>
                  <a:gd name="connsiteX1" fmla="*/ 12482 w 26841"/>
                  <a:gd name="connsiteY1" fmla="*/ 26971 h 26970"/>
                  <a:gd name="connsiteX2" fmla="*/ 3277 w 26841"/>
                  <a:gd name="connsiteY2" fmla="*/ 22154 h 26970"/>
                  <a:gd name="connsiteX3" fmla="*/ 76 w 26841"/>
                  <a:gd name="connsiteY3" fmla="*/ 12520 h 26970"/>
                  <a:gd name="connsiteX4" fmla="*/ 4878 w 26841"/>
                  <a:gd name="connsiteY4" fmla="*/ 3287 h 26970"/>
                  <a:gd name="connsiteX5" fmla="*/ 14483 w 26841"/>
                  <a:gd name="connsiteY5" fmla="*/ 76 h 26970"/>
                  <a:gd name="connsiteX6" fmla="*/ 23688 w 26841"/>
                  <a:gd name="connsiteY6" fmla="*/ 4893 h 26970"/>
                  <a:gd name="connsiteX7" fmla="*/ 22087 w 26841"/>
                  <a:gd name="connsiteY7" fmla="*/ 23759 h 26970"/>
                  <a:gd name="connsiteX8" fmla="*/ 13683 w 26841"/>
                  <a:gd name="connsiteY8" fmla="*/ 26971 h 26970"/>
                  <a:gd name="connsiteX9" fmla="*/ 13683 w 26841"/>
                  <a:gd name="connsiteY9" fmla="*/ 6499 h 26970"/>
                  <a:gd name="connsiteX10" fmla="*/ 8880 w 26841"/>
                  <a:gd name="connsiteY10" fmla="*/ 8104 h 26970"/>
                  <a:gd name="connsiteX11" fmla="*/ 6479 w 26841"/>
                  <a:gd name="connsiteY11" fmla="*/ 12921 h 26970"/>
                  <a:gd name="connsiteX12" fmla="*/ 8080 w 26841"/>
                  <a:gd name="connsiteY12" fmla="*/ 18140 h 26970"/>
                  <a:gd name="connsiteX13" fmla="*/ 12882 w 26841"/>
                  <a:gd name="connsiteY13" fmla="*/ 20548 h 26970"/>
                  <a:gd name="connsiteX14" fmla="*/ 18085 w 26841"/>
                  <a:gd name="connsiteY14" fmla="*/ 18942 h 26970"/>
                  <a:gd name="connsiteX15" fmla="*/ 18886 w 26841"/>
                  <a:gd name="connsiteY15" fmla="*/ 8506 h 26970"/>
                  <a:gd name="connsiteX16" fmla="*/ 14083 w 26841"/>
                  <a:gd name="connsiteY16" fmla="*/ 6097 h 26970"/>
                  <a:gd name="connsiteX17" fmla="*/ 13683 w 26841"/>
                  <a:gd name="connsiteY17" fmla="*/ 6499 h 26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841" h="26970">
                    <a:moveTo>
                      <a:pt x="13683" y="26971"/>
                    </a:moveTo>
                    <a:cubicBezTo>
                      <a:pt x="13283" y="26971"/>
                      <a:pt x="12882" y="26971"/>
                      <a:pt x="12482" y="26971"/>
                    </a:cubicBezTo>
                    <a:cubicBezTo>
                      <a:pt x="8880" y="26569"/>
                      <a:pt x="5679" y="24964"/>
                      <a:pt x="3277" y="22154"/>
                    </a:cubicBezTo>
                    <a:cubicBezTo>
                      <a:pt x="876" y="19344"/>
                      <a:pt x="-324" y="16133"/>
                      <a:pt x="76" y="12520"/>
                    </a:cubicBezTo>
                    <a:cubicBezTo>
                      <a:pt x="476" y="8907"/>
                      <a:pt x="2077" y="5696"/>
                      <a:pt x="4878" y="3287"/>
                    </a:cubicBezTo>
                    <a:cubicBezTo>
                      <a:pt x="7680" y="879"/>
                      <a:pt x="10881" y="-325"/>
                      <a:pt x="14483" y="76"/>
                    </a:cubicBezTo>
                    <a:cubicBezTo>
                      <a:pt x="18085" y="477"/>
                      <a:pt x="21287" y="2083"/>
                      <a:pt x="23688" y="4893"/>
                    </a:cubicBezTo>
                    <a:cubicBezTo>
                      <a:pt x="28490" y="10513"/>
                      <a:pt x="27690" y="18942"/>
                      <a:pt x="22087" y="23759"/>
                    </a:cubicBezTo>
                    <a:cubicBezTo>
                      <a:pt x="19686" y="26168"/>
                      <a:pt x="16884" y="26971"/>
                      <a:pt x="13683" y="26971"/>
                    </a:cubicBezTo>
                    <a:close/>
                    <a:moveTo>
                      <a:pt x="13683" y="6499"/>
                    </a:moveTo>
                    <a:cubicBezTo>
                      <a:pt x="12082" y="6499"/>
                      <a:pt x="10481" y="7301"/>
                      <a:pt x="8880" y="8104"/>
                    </a:cubicBezTo>
                    <a:cubicBezTo>
                      <a:pt x="7280" y="9309"/>
                      <a:pt x="6479" y="11316"/>
                      <a:pt x="6479" y="12921"/>
                    </a:cubicBezTo>
                    <a:cubicBezTo>
                      <a:pt x="6479" y="14928"/>
                      <a:pt x="6879" y="16935"/>
                      <a:pt x="8080" y="18140"/>
                    </a:cubicBezTo>
                    <a:cubicBezTo>
                      <a:pt x="9281" y="19745"/>
                      <a:pt x="11282" y="20548"/>
                      <a:pt x="12882" y="20548"/>
                    </a:cubicBezTo>
                    <a:cubicBezTo>
                      <a:pt x="14883" y="20548"/>
                      <a:pt x="16884" y="20147"/>
                      <a:pt x="18085" y="18942"/>
                    </a:cubicBezTo>
                    <a:cubicBezTo>
                      <a:pt x="21287" y="16133"/>
                      <a:pt x="21687" y="11717"/>
                      <a:pt x="18886" y="8506"/>
                    </a:cubicBezTo>
                    <a:cubicBezTo>
                      <a:pt x="17685" y="6900"/>
                      <a:pt x="15684" y="6097"/>
                      <a:pt x="14083" y="6097"/>
                    </a:cubicBezTo>
                    <a:cubicBezTo>
                      <a:pt x="14083" y="6499"/>
                      <a:pt x="13683" y="6499"/>
                      <a:pt x="13683" y="6499"/>
                    </a:cubicBez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B9C91FAE-29FC-4B01-AE99-8CCF466FF104}"/>
                  </a:ext>
                </a:extLst>
              </p:cNvPr>
              <p:cNvSpPr/>
              <p:nvPr/>
            </p:nvSpPr>
            <p:spPr>
              <a:xfrm>
                <a:off x="4867331" y="2176311"/>
                <a:ext cx="27771" cy="22479"/>
              </a:xfrm>
              <a:custGeom>
                <a:avLst/>
                <a:gdLst>
                  <a:gd name="connsiteX0" fmla="*/ 6560 w 27771"/>
                  <a:gd name="connsiteY0" fmla="*/ 22479 h 22479"/>
                  <a:gd name="connsiteX1" fmla="*/ 5360 w 27771"/>
                  <a:gd name="connsiteY1" fmla="*/ 22078 h 22479"/>
                  <a:gd name="connsiteX2" fmla="*/ 3759 w 27771"/>
                  <a:gd name="connsiteY2" fmla="*/ 20071 h 22479"/>
                  <a:gd name="connsiteX3" fmla="*/ 157 w 27771"/>
                  <a:gd name="connsiteY3" fmla="*/ 3613 h 22479"/>
                  <a:gd name="connsiteX4" fmla="*/ 957 w 27771"/>
                  <a:gd name="connsiteY4" fmla="*/ 803 h 22479"/>
                  <a:gd name="connsiteX5" fmla="*/ 3759 w 27771"/>
                  <a:gd name="connsiteY5" fmla="*/ 0 h 22479"/>
                  <a:gd name="connsiteX6" fmla="*/ 25770 w 27771"/>
                  <a:gd name="connsiteY6" fmla="*/ 6423 h 22479"/>
                  <a:gd name="connsiteX7" fmla="*/ 27771 w 27771"/>
                  <a:gd name="connsiteY7" fmla="*/ 8831 h 22479"/>
                  <a:gd name="connsiteX8" fmla="*/ 26170 w 27771"/>
                  <a:gd name="connsiteY8" fmla="*/ 11641 h 22479"/>
                  <a:gd name="connsiteX9" fmla="*/ 8161 w 27771"/>
                  <a:gd name="connsiteY9" fmla="*/ 22078 h 22479"/>
                  <a:gd name="connsiteX10" fmla="*/ 6560 w 27771"/>
                  <a:gd name="connsiteY10" fmla="*/ 22479 h 22479"/>
                  <a:gd name="connsiteX11" fmla="*/ 6961 w 27771"/>
                  <a:gd name="connsiteY11" fmla="*/ 7225 h 22479"/>
                  <a:gd name="connsiteX12" fmla="*/ 8561 w 27771"/>
                  <a:gd name="connsiteY12" fmla="*/ 14852 h 22479"/>
                  <a:gd name="connsiteX13" fmla="*/ 16966 w 27771"/>
                  <a:gd name="connsiteY13" fmla="*/ 10035 h 22479"/>
                  <a:gd name="connsiteX14" fmla="*/ 6961 w 27771"/>
                  <a:gd name="connsiteY14" fmla="*/ 7225 h 2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771" h="22479">
                    <a:moveTo>
                      <a:pt x="6560" y="22479"/>
                    </a:moveTo>
                    <a:cubicBezTo>
                      <a:pt x="6160" y="22479"/>
                      <a:pt x="5760" y="22479"/>
                      <a:pt x="5360" y="22078"/>
                    </a:cubicBezTo>
                    <a:cubicBezTo>
                      <a:pt x="4559" y="21676"/>
                      <a:pt x="3759" y="20873"/>
                      <a:pt x="3759" y="20071"/>
                    </a:cubicBezTo>
                    <a:lnTo>
                      <a:pt x="157" y="3613"/>
                    </a:lnTo>
                    <a:cubicBezTo>
                      <a:pt x="-243" y="2408"/>
                      <a:pt x="157" y="1606"/>
                      <a:pt x="957" y="803"/>
                    </a:cubicBezTo>
                    <a:cubicBezTo>
                      <a:pt x="1758" y="0"/>
                      <a:pt x="2958" y="0"/>
                      <a:pt x="3759" y="0"/>
                    </a:cubicBezTo>
                    <a:lnTo>
                      <a:pt x="25770" y="6423"/>
                    </a:lnTo>
                    <a:cubicBezTo>
                      <a:pt x="26971" y="6824"/>
                      <a:pt x="27771" y="7627"/>
                      <a:pt x="27771" y="8831"/>
                    </a:cubicBezTo>
                    <a:cubicBezTo>
                      <a:pt x="27771" y="10035"/>
                      <a:pt x="27371" y="11240"/>
                      <a:pt x="26170" y="11641"/>
                    </a:cubicBezTo>
                    <a:lnTo>
                      <a:pt x="8161" y="22078"/>
                    </a:lnTo>
                    <a:cubicBezTo>
                      <a:pt x="7761" y="22479"/>
                      <a:pt x="7361" y="22479"/>
                      <a:pt x="6560" y="22479"/>
                    </a:cubicBezTo>
                    <a:close/>
                    <a:moveTo>
                      <a:pt x="6961" y="7225"/>
                    </a:moveTo>
                    <a:lnTo>
                      <a:pt x="8561" y="14852"/>
                    </a:lnTo>
                    <a:lnTo>
                      <a:pt x="16966" y="10035"/>
                    </a:lnTo>
                    <a:lnTo>
                      <a:pt x="6961" y="7225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23236610-B50E-4887-A849-6BF304BEA29B}"/>
                  </a:ext>
                </a:extLst>
              </p:cNvPr>
              <p:cNvSpPr/>
              <p:nvPr/>
            </p:nvSpPr>
            <p:spPr>
              <a:xfrm>
                <a:off x="4908544" y="2162506"/>
                <a:ext cx="25935" cy="25847"/>
              </a:xfrm>
              <a:custGeom>
                <a:avLst/>
                <a:gdLst>
                  <a:gd name="connsiteX0" fmla="*/ 22978 w 25935"/>
                  <a:gd name="connsiteY0" fmla="*/ 25848 h 25847"/>
                  <a:gd name="connsiteX1" fmla="*/ 22577 w 25935"/>
                  <a:gd name="connsiteY1" fmla="*/ 25848 h 25847"/>
                  <a:gd name="connsiteX2" fmla="*/ 2567 w 25935"/>
                  <a:gd name="connsiteY2" fmla="*/ 22235 h 25847"/>
                  <a:gd name="connsiteX3" fmla="*/ 166 w 25935"/>
                  <a:gd name="connsiteY3" fmla="*/ 20228 h 25847"/>
                  <a:gd name="connsiteX4" fmla="*/ 566 w 25935"/>
                  <a:gd name="connsiteY4" fmla="*/ 17418 h 25847"/>
                  <a:gd name="connsiteX5" fmla="*/ 14573 w 25935"/>
                  <a:gd name="connsiteY5" fmla="*/ 960 h 25847"/>
                  <a:gd name="connsiteX6" fmla="*/ 17375 w 25935"/>
                  <a:gd name="connsiteY6" fmla="*/ 157 h 25847"/>
                  <a:gd name="connsiteX7" fmla="*/ 19776 w 25935"/>
                  <a:gd name="connsiteY7" fmla="*/ 2165 h 25847"/>
                  <a:gd name="connsiteX8" fmla="*/ 25779 w 25935"/>
                  <a:gd name="connsiteY8" fmla="*/ 22235 h 25847"/>
                  <a:gd name="connsiteX9" fmla="*/ 24979 w 25935"/>
                  <a:gd name="connsiteY9" fmla="*/ 25045 h 25847"/>
                  <a:gd name="connsiteX10" fmla="*/ 22978 w 25935"/>
                  <a:gd name="connsiteY10" fmla="*/ 25848 h 25847"/>
                  <a:gd name="connsiteX11" fmla="*/ 8570 w 25935"/>
                  <a:gd name="connsiteY11" fmla="*/ 17017 h 25847"/>
                  <a:gd name="connsiteX12" fmla="*/ 18575 w 25935"/>
                  <a:gd name="connsiteY12" fmla="*/ 19024 h 25847"/>
                  <a:gd name="connsiteX13" fmla="*/ 15774 w 25935"/>
                  <a:gd name="connsiteY13" fmla="*/ 8989 h 25847"/>
                  <a:gd name="connsiteX14" fmla="*/ 8570 w 25935"/>
                  <a:gd name="connsiteY14" fmla="*/ 17017 h 2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935" h="25847">
                    <a:moveTo>
                      <a:pt x="22978" y="25848"/>
                    </a:moveTo>
                    <a:cubicBezTo>
                      <a:pt x="22978" y="25848"/>
                      <a:pt x="22577" y="25848"/>
                      <a:pt x="22577" y="25848"/>
                    </a:cubicBezTo>
                    <a:lnTo>
                      <a:pt x="2567" y="22235"/>
                    </a:lnTo>
                    <a:cubicBezTo>
                      <a:pt x="1366" y="22235"/>
                      <a:pt x="566" y="21432"/>
                      <a:pt x="166" y="20228"/>
                    </a:cubicBezTo>
                    <a:cubicBezTo>
                      <a:pt x="-234" y="19024"/>
                      <a:pt x="166" y="18221"/>
                      <a:pt x="566" y="17418"/>
                    </a:cubicBezTo>
                    <a:lnTo>
                      <a:pt x="14573" y="960"/>
                    </a:lnTo>
                    <a:cubicBezTo>
                      <a:pt x="15374" y="157"/>
                      <a:pt x="16574" y="-244"/>
                      <a:pt x="17375" y="157"/>
                    </a:cubicBezTo>
                    <a:cubicBezTo>
                      <a:pt x="18575" y="559"/>
                      <a:pt x="19376" y="1362"/>
                      <a:pt x="19776" y="2165"/>
                    </a:cubicBezTo>
                    <a:lnTo>
                      <a:pt x="25779" y="22235"/>
                    </a:lnTo>
                    <a:cubicBezTo>
                      <a:pt x="26179" y="23038"/>
                      <a:pt x="25779" y="24242"/>
                      <a:pt x="24979" y="25045"/>
                    </a:cubicBezTo>
                    <a:cubicBezTo>
                      <a:pt x="24578" y="25446"/>
                      <a:pt x="23778" y="25848"/>
                      <a:pt x="22978" y="25848"/>
                    </a:cubicBezTo>
                    <a:close/>
                    <a:moveTo>
                      <a:pt x="8570" y="17017"/>
                    </a:moveTo>
                    <a:lnTo>
                      <a:pt x="18575" y="19024"/>
                    </a:lnTo>
                    <a:lnTo>
                      <a:pt x="15774" y="8989"/>
                    </a:lnTo>
                    <a:lnTo>
                      <a:pt x="8570" y="17017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D76449E5-E9AE-4C82-B3EE-FD0C20C05906}"/>
                  </a:ext>
                </a:extLst>
              </p:cNvPr>
              <p:cNvSpPr/>
              <p:nvPr/>
            </p:nvSpPr>
            <p:spPr>
              <a:xfrm>
                <a:off x="4803855" y="2236043"/>
                <a:ext cx="26413" cy="26571"/>
              </a:xfrm>
              <a:custGeom>
                <a:avLst/>
                <a:gdLst>
                  <a:gd name="connsiteX0" fmla="*/ 13207 w 26413"/>
                  <a:gd name="connsiteY0" fmla="*/ 26572 h 26571"/>
                  <a:gd name="connsiteX1" fmla="*/ 6804 w 26413"/>
                  <a:gd name="connsiteY1" fmla="*/ 24966 h 26571"/>
                  <a:gd name="connsiteX2" fmla="*/ 400 w 26413"/>
                  <a:gd name="connsiteY2" fmla="*/ 16938 h 26571"/>
                  <a:gd name="connsiteX3" fmla="*/ 1601 w 26413"/>
                  <a:gd name="connsiteY3" fmla="*/ 6903 h 26571"/>
                  <a:gd name="connsiteX4" fmla="*/ 19610 w 26413"/>
                  <a:gd name="connsiteY4" fmla="*/ 1684 h 26571"/>
                  <a:gd name="connsiteX5" fmla="*/ 19610 w 26413"/>
                  <a:gd name="connsiteY5" fmla="*/ 1684 h 26571"/>
                  <a:gd name="connsiteX6" fmla="*/ 26013 w 26413"/>
                  <a:gd name="connsiteY6" fmla="*/ 9713 h 26571"/>
                  <a:gd name="connsiteX7" fmla="*/ 24813 w 26413"/>
                  <a:gd name="connsiteY7" fmla="*/ 19748 h 26571"/>
                  <a:gd name="connsiteX8" fmla="*/ 13207 w 26413"/>
                  <a:gd name="connsiteY8" fmla="*/ 26572 h 26571"/>
                  <a:gd name="connsiteX9" fmla="*/ 13207 w 26413"/>
                  <a:gd name="connsiteY9" fmla="*/ 6100 h 26571"/>
                  <a:gd name="connsiteX10" fmla="*/ 6804 w 26413"/>
                  <a:gd name="connsiteY10" fmla="*/ 9713 h 26571"/>
                  <a:gd name="connsiteX11" fmla="*/ 6003 w 26413"/>
                  <a:gd name="connsiteY11" fmla="*/ 15332 h 26571"/>
                  <a:gd name="connsiteX12" fmla="*/ 9605 w 26413"/>
                  <a:gd name="connsiteY12" fmla="*/ 19748 h 26571"/>
                  <a:gd name="connsiteX13" fmla="*/ 19610 w 26413"/>
                  <a:gd name="connsiteY13" fmla="*/ 16938 h 26571"/>
                  <a:gd name="connsiteX14" fmla="*/ 20411 w 26413"/>
                  <a:gd name="connsiteY14" fmla="*/ 11318 h 26571"/>
                  <a:gd name="connsiteX15" fmla="*/ 16809 w 26413"/>
                  <a:gd name="connsiteY15" fmla="*/ 6903 h 26571"/>
                  <a:gd name="connsiteX16" fmla="*/ 16809 w 26413"/>
                  <a:gd name="connsiteY16" fmla="*/ 6903 h 26571"/>
                  <a:gd name="connsiteX17" fmla="*/ 13207 w 26413"/>
                  <a:gd name="connsiteY17" fmla="*/ 6100 h 26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413" h="26571">
                    <a:moveTo>
                      <a:pt x="13207" y="26572"/>
                    </a:moveTo>
                    <a:cubicBezTo>
                      <a:pt x="11206" y="26572"/>
                      <a:pt x="8805" y="26171"/>
                      <a:pt x="6804" y="24966"/>
                    </a:cubicBezTo>
                    <a:cubicBezTo>
                      <a:pt x="3602" y="23361"/>
                      <a:pt x="1601" y="20551"/>
                      <a:pt x="400" y="16938"/>
                    </a:cubicBezTo>
                    <a:cubicBezTo>
                      <a:pt x="-400" y="13325"/>
                      <a:pt x="0" y="9713"/>
                      <a:pt x="1601" y="6903"/>
                    </a:cubicBezTo>
                    <a:cubicBezTo>
                      <a:pt x="5203" y="480"/>
                      <a:pt x="13207" y="-1928"/>
                      <a:pt x="19610" y="1684"/>
                    </a:cubicBezTo>
                    <a:lnTo>
                      <a:pt x="19610" y="1684"/>
                    </a:lnTo>
                    <a:cubicBezTo>
                      <a:pt x="22812" y="3290"/>
                      <a:pt x="24813" y="6100"/>
                      <a:pt x="26013" y="9713"/>
                    </a:cubicBezTo>
                    <a:cubicBezTo>
                      <a:pt x="26814" y="13325"/>
                      <a:pt x="26414" y="16938"/>
                      <a:pt x="24813" y="19748"/>
                    </a:cubicBezTo>
                    <a:cubicBezTo>
                      <a:pt x="22412" y="24163"/>
                      <a:pt x="18009" y="26572"/>
                      <a:pt x="13207" y="26572"/>
                    </a:cubicBezTo>
                    <a:close/>
                    <a:moveTo>
                      <a:pt x="13207" y="6100"/>
                    </a:moveTo>
                    <a:cubicBezTo>
                      <a:pt x="10806" y="6100"/>
                      <a:pt x="8004" y="7304"/>
                      <a:pt x="6804" y="9713"/>
                    </a:cubicBezTo>
                    <a:cubicBezTo>
                      <a:pt x="6003" y="11318"/>
                      <a:pt x="5603" y="13325"/>
                      <a:pt x="6003" y="15332"/>
                    </a:cubicBezTo>
                    <a:cubicBezTo>
                      <a:pt x="6403" y="17339"/>
                      <a:pt x="7604" y="18945"/>
                      <a:pt x="9605" y="19748"/>
                    </a:cubicBezTo>
                    <a:cubicBezTo>
                      <a:pt x="13207" y="21755"/>
                      <a:pt x="17609" y="20551"/>
                      <a:pt x="19610" y="16938"/>
                    </a:cubicBezTo>
                    <a:cubicBezTo>
                      <a:pt x="20411" y="15332"/>
                      <a:pt x="20811" y="13325"/>
                      <a:pt x="20411" y="11318"/>
                    </a:cubicBezTo>
                    <a:cubicBezTo>
                      <a:pt x="20010" y="9311"/>
                      <a:pt x="18810" y="7706"/>
                      <a:pt x="16809" y="6903"/>
                    </a:cubicBezTo>
                    <a:lnTo>
                      <a:pt x="16809" y="6903"/>
                    </a:lnTo>
                    <a:cubicBezTo>
                      <a:pt x="15608" y="6501"/>
                      <a:pt x="14407" y="6100"/>
                      <a:pt x="13207" y="6100"/>
                    </a:cubicBez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E5C7680D-7491-4852-A102-D93996296BFD}"/>
                  </a:ext>
                </a:extLst>
              </p:cNvPr>
              <p:cNvSpPr/>
              <p:nvPr/>
            </p:nvSpPr>
            <p:spPr>
              <a:xfrm>
                <a:off x="4782983" y="2252178"/>
                <a:ext cx="28739" cy="21676"/>
              </a:xfrm>
              <a:custGeom>
                <a:avLst/>
                <a:gdLst>
                  <a:gd name="connsiteX0" fmla="*/ 12068 w 28739"/>
                  <a:gd name="connsiteY0" fmla="*/ 21676 h 21676"/>
                  <a:gd name="connsiteX1" fmla="*/ 12068 w 28739"/>
                  <a:gd name="connsiteY1" fmla="*/ 21676 h 21676"/>
                  <a:gd name="connsiteX2" fmla="*/ 9667 w 28739"/>
                  <a:gd name="connsiteY2" fmla="*/ 20472 h 21676"/>
                  <a:gd name="connsiteX3" fmla="*/ 462 w 28739"/>
                  <a:gd name="connsiteY3" fmla="*/ 6021 h 21676"/>
                  <a:gd name="connsiteX4" fmla="*/ 462 w 28739"/>
                  <a:gd name="connsiteY4" fmla="*/ 3211 h 21676"/>
                  <a:gd name="connsiteX5" fmla="*/ 2863 w 28739"/>
                  <a:gd name="connsiteY5" fmla="*/ 1606 h 21676"/>
                  <a:gd name="connsiteX6" fmla="*/ 25675 w 28739"/>
                  <a:gd name="connsiteY6" fmla="*/ 0 h 21676"/>
                  <a:gd name="connsiteX7" fmla="*/ 28477 w 28739"/>
                  <a:gd name="connsiteY7" fmla="*/ 1606 h 21676"/>
                  <a:gd name="connsiteX8" fmla="*/ 28076 w 28739"/>
                  <a:gd name="connsiteY8" fmla="*/ 4817 h 21676"/>
                  <a:gd name="connsiteX9" fmla="*/ 14469 w 28739"/>
                  <a:gd name="connsiteY9" fmla="*/ 20873 h 21676"/>
                  <a:gd name="connsiteX10" fmla="*/ 12068 w 28739"/>
                  <a:gd name="connsiteY10" fmla="*/ 21676 h 21676"/>
                  <a:gd name="connsiteX11" fmla="*/ 8066 w 28739"/>
                  <a:gd name="connsiteY11" fmla="*/ 7225 h 21676"/>
                  <a:gd name="connsiteX12" fmla="*/ 12468 w 28739"/>
                  <a:gd name="connsiteY12" fmla="*/ 14049 h 21676"/>
                  <a:gd name="connsiteX13" fmla="*/ 18872 w 28739"/>
                  <a:gd name="connsiteY13" fmla="*/ 6824 h 21676"/>
                  <a:gd name="connsiteX14" fmla="*/ 8066 w 28739"/>
                  <a:gd name="connsiteY14" fmla="*/ 7225 h 21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739" h="21676">
                    <a:moveTo>
                      <a:pt x="12068" y="21676"/>
                    </a:moveTo>
                    <a:cubicBezTo>
                      <a:pt x="12068" y="21676"/>
                      <a:pt x="12068" y="21676"/>
                      <a:pt x="12068" y="21676"/>
                    </a:cubicBezTo>
                    <a:cubicBezTo>
                      <a:pt x="10867" y="21676"/>
                      <a:pt x="10067" y="21275"/>
                      <a:pt x="9667" y="20472"/>
                    </a:cubicBezTo>
                    <a:lnTo>
                      <a:pt x="462" y="6021"/>
                    </a:lnTo>
                    <a:cubicBezTo>
                      <a:pt x="62" y="5218"/>
                      <a:pt x="-338" y="4014"/>
                      <a:pt x="462" y="3211"/>
                    </a:cubicBezTo>
                    <a:cubicBezTo>
                      <a:pt x="862" y="2408"/>
                      <a:pt x="2063" y="1606"/>
                      <a:pt x="2863" y="1606"/>
                    </a:cubicBezTo>
                    <a:lnTo>
                      <a:pt x="25675" y="0"/>
                    </a:lnTo>
                    <a:cubicBezTo>
                      <a:pt x="26876" y="0"/>
                      <a:pt x="28076" y="401"/>
                      <a:pt x="28477" y="1606"/>
                    </a:cubicBezTo>
                    <a:cubicBezTo>
                      <a:pt x="28877" y="2810"/>
                      <a:pt x="28877" y="4014"/>
                      <a:pt x="28076" y="4817"/>
                    </a:cubicBezTo>
                    <a:lnTo>
                      <a:pt x="14469" y="20873"/>
                    </a:lnTo>
                    <a:cubicBezTo>
                      <a:pt x="14069" y="21676"/>
                      <a:pt x="12869" y="21676"/>
                      <a:pt x="12068" y="21676"/>
                    </a:cubicBezTo>
                    <a:close/>
                    <a:moveTo>
                      <a:pt x="8066" y="7225"/>
                    </a:moveTo>
                    <a:lnTo>
                      <a:pt x="12468" y="14049"/>
                    </a:lnTo>
                    <a:lnTo>
                      <a:pt x="18872" y="6824"/>
                    </a:lnTo>
                    <a:lnTo>
                      <a:pt x="8066" y="7225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CD6A8559-9F5C-4277-81BB-5BA9A860DC84}"/>
                  </a:ext>
                </a:extLst>
              </p:cNvPr>
              <p:cNvSpPr/>
              <p:nvPr/>
            </p:nvSpPr>
            <p:spPr>
              <a:xfrm>
                <a:off x="4822402" y="2221671"/>
                <a:ext cx="26138" cy="26091"/>
              </a:xfrm>
              <a:custGeom>
                <a:avLst/>
                <a:gdLst>
                  <a:gd name="connsiteX0" fmla="*/ 3064 w 26138"/>
                  <a:gd name="connsiteY0" fmla="*/ 26092 h 26091"/>
                  <a:gd name="connsiteX1" fmla="*/ 663 w 26138"/>
                  <a:gd name="connsiteY1" fmla="*/ 24888 h 26091"/>
                  <a:gd name="connsiteX2" fmla="*/ 263 w 26138"/>
                  <a:gd name="connsiteY2" fmla="*/ 22078 h 26091"/>
                  <a:gd name="connsiteX3" fmla="*/ 7867 w 26138"/>
                  <a:gd name="connsiteY3" fmla="*/ 2007 h 26091"/>
                  <a:gd name="connsiteX4" fmla="*/ 10268 w 26138"/>
                  <a:gd name="connsiteY4" fmla="*/ 0 h 26091"/>
                  <a:gd name="connsiteX5" fmla="*/ 13069 w 26138"/>
                  <a:gd name="connsiteY5" fmla="*/ 1204 h 26091"/>
                  <a:gd name="connsiteX6" fmla="*/ 25476 w 26138"/>
                  <a:gd name="connsiteY6" fmla="*/ 18064 h 26091"/>
                  <a:gd name="connsiteX7" fmla="*/ 25876 w 26138"/>
                  <a:gd name="connsiteY7" fmla="*/ 20873 h 26091"/>
                  <a:gd name="connsiteX8" fmla="*/ 23475 w 26138"/>
                  <a:gd name="connsiteY8" fmla="*/ 22479 h 26091"/>
                  <a:gd name="connsiteX9" fmla="*/ 3465 w 26138"/>
                  <a:gd name="connsiteY9" fmla="*/ 26092 h 26091"/>
                  <a:gd name="connsiteX10" fmla="*/ 3064 w 26138"/>
                  <a:gd name="connsiteY10" fmla="*/ 26092 h 26091"/>
                  <a:gd name="connsiteX11" fmla="*/ 11469 w 26138"/>
                  <a:gd name="connsiteY11" fmla="*/ 8831 h 26091"/>
                  <a:gd name="connsiteX12" fmla="*/ 7467 w 26138"/>
                  <a:gd name="connsiteY12" fmla="*/ 18866 h 26091"/>
                  <a:gd name="connsiteX13" fmla="*/ 17472 w 26138"/>
                  <a:gd name="connsiteY13" fmla="*/ 17261 h 26091"/>
                  <a:gd name="connsiteX14" fmla="*/ 11469 w 26138"/>
                  <a:gd name="connsiteY14" fmla="*/ 8831 h 26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138" h="26091">
                    <a:moveTo>
                      <a:pt x="3064" y="26092"/>
                    </a:moveTo>
                    <a:cubicBezTo>
                      <a:pt x="2264" y="26092"/>
                      <a:pt x="1464" y="25690"/>
                      <a:pt x="663" y="24888"/>
                    </a:cubicBezTo>
                    <a:cubicBezTo>
                      <a:pt x="-137" y="24085"/>
                      <a:pt x="-137" y="22880"/>
                      <a:pt x="263" y="22078"/>
                    </a:cubicBezTo>
                    <a:lnTo>
                      <a:pt x="7867" y="2007"/>
                    </a:lnTo>
                    <a:cubicBezTo>
                      <a:pt x="8267" y="803"/>
                      <a:pt x="9067" y="401"/>
                      <a:pt x="10268" y="0"/>
                    </a:cubicBezTo>
                    <a:cubicBezTo>
                      <a:pt x="11469" y="0"/>
                      <a:pt x="12269" y="401"/>
                      <a:pt x="13069" y="1204"/>
                    </a:cubicBezTo>
                    <a:lnTo>
                      <a:pt x="25476" y="18064"/>
                    </a:lnTo>
                    <a:cubicBezTo>
                      <a:pt x="26276" y="18866"/>
                      <a:pt x="26276" y="20071"/>
                      <a:pt x="25876" y="20873"/>
                    </a:cubicBezTo>
                    <a:cubicBezTo>
                      <a:pt x="25476" y="21676"/>
                      <a:pt x="24675" y="22078"/>
                      <a:pt x="23475" y="22479"/>
                    </a:cubicBezTo>
                    <a:lnTo>
                      <a:pt x="3465" y="26092"/>
                    </a:lnTo>
                    <a:cubicBezTo>
                      <a:pt x="3465" y="26092"/>
                      <a:pt x="3064" y="26092"/>
                      <a:pt x="3064" y="26092"/>
                    </a:cubicBezTo>
                    <a:close/>
                    <a:moveTo>
                      <a:pt x="11469" y="8831"/>
                    </a:moveTo>
                    <a:lnTo>
                      <a:pt x="7467" y="18866"/>
                    </a:lnTo>
                    <a:lnTo>
                      <a:pt x="17472" y="17261"/>
                    </a:lnTo>
                    <a:lnTo>
                      <a:pt x="11469" y="8831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A0E1A98C-1495-4549-8778-7CC4C92669B4}"/>
              </a:ext>
            </a:extLst>
          </p:cNvPr>
          <p:cNvGrpSpPr/>
          <p:nvPr/>
        </p:nvGrpSpPr>
        <p:grpSpPr>
          <a:xfrm>
            <a:off x="421411" y="1324649"/>
            <a:ext cx="3657600" cy="4407039"/>
            <a:chOff x="443183" y="1324649"/>
            <a:chExt cx="3657600" cy="4407039"/>
          </a:xfrm>
        </p:grpSpPr>
        <p:sp>
          <p:nvSpPr>
            <p:cNvPr id="335" name="Rectangle: Rounded Corners 334">
              <a:extLst>
                <a:ext uri="{FF2B5EF4-FFF2-40B4-BE49-F238E27FC236}">
                  <a16:creationId xmlns:a16="http://schemas.microsoft.com/office/drawing/2014/main" id="{C3BFE107-1E23-4173-8C15-160BB6E734C5}"/>
                </a:ext>
              </a:extLst>
            </p:cNvPr>
            <p:cNvSpPr/>
            <p:nvPr/>
          </p:nvSpPr>
          <p:spPr>
            <a:xfrm>
              <a:off x="443183" y="1324649"/>
              <a:ext cx="3657600" cy="4407039"/>
            </a:xfrm>
            <a:prstGeom prst="roundRect">
              <a:avLst>
                <a:gd name="adj" fmla="val 5483"/>
              </a:avLst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36" name="Rectangle: Top Corners Rounded 335">
              <a:extLst>
                <a:ext uri="{FF2B5EF4-FFF2-40B4-BE49-F238E27FC236}">
                  <a16:creationId xmlns:a16="http://schemas.microsoft.com/office/drawing/2014/main" id="{E0A8226E-8875-49EE-AD29-6F77A9C5AB75}"/>
                </a:ext>
              </a:extLst>
            </p:cNvPr>
            <p:cNvSpPr/>
            <p:nvPr/>
          </p:nvSpPr>
          <p:spPr>
            <a:xfrm>
              <a:off x="443183" y="5052091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Health for People</a:t>
              </a:r>
            </a:p>
          </p:txBody>
        </p:sp>
        <p:grpSp>
          <p:nvGrpSpPr>
            <p:cNvPr id="337" name="Group 336">
              <a:extLst>
                <a:ext uri="{FF2B5EF4-FFF2-40B4-BE49-F238E27FC236}">
                  <a16:creationId xmlns:a16="http://schemas.microsoft.com/office/drawing/2014/main" id="{B1292DD0-0B33-41A8-B4E8-B490D3C2E7BF}"/>
                </a:ext>
              </a:extLst>
            </p:cNvPr>
            <p:cNvGrpSpPr/>
            <p:nvPr/>
          </p:nvGrpSpPr>
          <p:grpSpPr>
            <a:xfrm>
              <a:off x="3368244" y="5139142"/>
              <a:ext cx="528709" cy="528709"/>
              <a:chOff x="3375027" y="5379772"/>
              <a:chExt cx="528709" cy="528709"/>
            </a:xfrm>
          </p:grpSpPr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1AFC7BB4-53EC-4A1E-B39A-6DEC18F7B926}"/>
                  </a:ext>
                </a:extLst>
              </p:cNvPr>
              <p:cNvSpPr/>
              <p:nvPr/>
            </p:nvSpPr>
            <p:spPr>
              <a:xfrm>
                <a:off x="3375027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65" name="Graphic 364" descr="Family with two children with solid fill">
                <a:extLst>
                  <a:ext uri="{FF2B5EF4-FFF2-40B4-BE49-F238E27FC236}">
                    <a16:creationId xmlns:a16="http://schemas.microsoft.com/office/drawing/2014/main" id="{89DB28CB-AA52-4E1D-A647-0804BF5BAA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3392593" y="5379772"/>
                <a:ext cx="493577" cy="493577"/>
              </a:xfrm>
              <a:prstGeom prst="rect">
                <a:avLst/>
              </a:prstGeom>
            </p:spPr>
          </p:pic>
          <p:sp>
            <p:nvSpPr>
              <p:cNvPr id="366" name="Chord 365">
                <a:extLst>
                  <a:ext uri="{FF2B5EF4-FFF2-40B4-BE49-F238E27FC236}">
                    <a16:creationId xmlns:a16="http://schemas.microsoft.com/office/drawing/2014/main" id="{C155F9D8-9BE5-4809-90A1-D6BFA9F1068C}"/>
                  </a:ext>
                </a:extLst>
              </p:cNvPr>
              <p:cNvSpPr/>
              <p:nvPr/>
            </p:nvSpPr>
            <p:spPr>
              <a:xfrm>
                <a:off x="3375027" y="5379772"/>
                <a:ext cx="528709" cy="528709"/>
              </a:xfrm>
              <a:prstGeom prst="chord">
                <a:avLst>
                  <a:gd name="adj1" fmla="val 1842146"/>
                  <a:gd name="adj2" fmla="val 8868556"/>
                </a:avLst>
              </a:prstGeom>
              <a:solidFill>
                <a:schemeClr val="accent2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F0F2D48E-CE88-4CFA-A3FA-0C56BF2DC749}"/>
                </a:ext>
              </a:extLst>
            </p:cNvPr>
            <p:cNvGrpSpPr/>
            <p:nvPr/>
          </p:nvGrpSpPr>
          <p:grpSpPr>
            <a:xfrm>
              <a:off x="596807" y="2448392"/>
              <a:ext cx="3282580" cy="755679"/>
              <a:chOff x="603590" y="2556375"/>
              <a:chExt cx="3282580" cy="755679"/>
            </a:xfrm>
          </p:grpSpPr>
          <p:sp>
            <p:nvSpPr>
              <p:cNvPr id="359" name="object 24">
                <a:extLst>
                  <a:ext uri="{FF2B5EF4-FFF2-40B4-BE49-F238E27FC236}">
                    <a16:creationId xmlns:a16="http://schemas.microsoft.com/office/drawing/2014/main" id="{D5986AFC-C9AB-4E90-8E3F-E4AD86268763}"/>
                  </a:ext>
                </a:extLst>
              </p:cNvPr>
              <p:cNvSpPr txBox="1"/>
              <p:nvPr/>
            </p:nvSpPr>
            <p:spPr>
              <a:xfrm>
                <a:off x="1393681" y="2556375"/>
                <a:ext cx="2492489" cy="755679"/>
              </a:xfrm>
              <a:prstGeom prst="rect">
                <a:avLst/>
              </a:prstGeom>
            </p:spPr>
            <p:txBody>
              <a:bodyPr vert="horz" wrap="square" lIns="0" tIns="16851" rIns="0" bIns="0" rtlCol="0" anchor="ctr">
                <a:spAutoFit/>
              </a:bodyPr>
              <a:lstStyle/>
              <a:p>
                <a:pPr marL="16510" marR="0" lvl="0" indent="0" defTabSz="1213269" rtl="0" eaLnBrk="1" fontAlgn="auto" latinLnBrk="0" hangingPunct="1">
                  <a:lnSpc>
                    <a:spcPct val="100000"/>
                  </a:lnSpc>
                  <a:spcBef>
                    <a:spcPts val="13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>
                    <a:solidFill>
                      <a:schemeClr val="accent2"/>
                    </a:solidFill>
                    <a:cs typeface="Arial"/>
                  </a:rPr>
                  <a:t>Diet-related illnesses</a:t>
                </a:r>
                <a:r>
                  <a:rPr lang="en-GB" sz="1600">
                    <a:cs typeface="Arial"/>
                  </a:rPr>
                  <a:t>, non-communicable disease, obesity</a:t>
                </a:r>
                <a:endParaRPr lang="en-GB" sz="1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grpSp>
            <p:nvGrpSpPr>
              <p:cNvPr id="360" name="Group 359">
                <a:extLst>
                  <a:ext uri="{FF2B5EF4-FFF2-40B4-BE49-F238E27FC236}">
                    <a16:creationId xmlns:a16="http://schemas.microsoft.com/office/drawing/2014/main" id="{0E966F30-4B2F-4763-ACE7-E6774C05AC97}"/>
                  </a:ext>
                </a:extLst>
              </p:cNvPr>
              <p:cNvGrpSpPr/>
              <p:nvPr/>
            </p:nvGrpSpPr>
            <p:grpSpPr>
              <a:xfrm>
                <a:off x="603590" y="2627890"/>
                <a:ext cx="681213" cy="617968"/>
                <a:chOff x="603590" y="2627890"/>
                <a:chExt cx="681213" cy="617968"/>
              </a:xfrm>
            </p:grpSpPr>
            <p:sp>
              <p:nvSpPr>
                <p:cNvPr id="361" name="Rectangle: Rounded Corners 360">
                  <a:extLst>
                    <a:ext uri="{FF2B5EF4-FFF2-40B4-BE49-F238E27FC236}">
                      <a16:creationId xmlns:a16="http://schemas.microsoft.com/office/drawing/2014/main" id="{13EBBD93-EDF7-45E5-823E-534E89DD1364}"/>
                    </a:ext>
                  </a:extLst>
                </p:cNvPr>
                <p:cNvSpPr/>
                <p:nvPr/>
              </p:nvSpPr>
              <p:spPr>
                <a:xfrm>
                  <a:off x="603590" y="2627890"/>
                  <a:ext cx="675288" cy="612648"/>
                </a:xfrm>
                <a:prstGeom prst="roundRect">
                  <a:avLst/>
                </a:prstGeom>
                <a:solidFill>
                  <a:schemeClr val="bg2"/>
                </a:solidFill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accent2"/>
                    </a:solidFill>
                  </a:endParaRPr>
                </a:p>
              </p:txBody>
            </p:sp>
            <p:pic>
              <p:nvPicPr>
                <p:cNvPr id="362" name="Graphic 361" descr="Weight Gain with solid fill">
                  <a:extLst>
                    <a:ext uri="{FF2B5EF4-FFF2-40B4-BE49-F238E27FC236}">
                      <a16:creationId xmlns:a16="http://schemas.microsoft.com/office/drawing/2014/main" id="{5B4F16A2-F45D-4FC4-9144-1143102830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>
                  <a:extLs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2321" y="2803376"/>
                  <a:ext cx="442482" cy="442482"/>
                </a:xfrm>
                <a:prstGeom prst="rect">
                  <a:avLst/>
                </a:prstGeom>
              </p:spPr>
            </p:pic>
            <p:pic>
              <p:nvPicPr>
                <p:cNvPr id="363" name="Graphic 362" descr="Sparkling Heart with solid fill">
                  <a:extLst>
                    <a:ext uri="{FF2B5EF4-FFF2-40B4-BE49-F238E27FC236}">
                      <a16:creationId xmlns:a16="http://schemas.microsoft.com/office/drawing/2014/main" id="{76C1F2CE-1E9F-491D-AA57-47D5568F32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2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1530" y="2668666"/>
                  <a:ext cx="351162" cy="351162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39" name="Group 338">
              <a:extLst>
                <a:ext uri="{FF2B5EF4-FFF2-40B4-BE49-F238E27FC236}">
                  <a16:creationId xmlns:a16="http://schemas.microsoft.com/office/drawing/2014/main" id="{A618E030-3E25-4180-8233-3030697BD527}"/>
                </a:ext>
              </a:extLst>
            </p:cNvPr>
            <p:cNvGrpSpPr/>
            <p:nvPr/>
          </p:nvGrpSpPr>
          <p:grpSpPr>
            <a:xfrm>
              <a:off x="585846" y="3392555"/>
              <a:ext cx="3178493" cy="612648"/>
              <a:chOff x="592629" y="3400264"/>
              <a:chExt cx="3178493" cy="612648"/>
            </a:xfrm>
          </p:grpSpPr>
          <p:sp>
            <p:nvSpPr>
              <p:cNvPr id="354" name="object 24">
                <a:extLst>
                  <a:ext uri="{FF2B5EF4-FFF2-40B4-BE49-F238E27FC236}">
                    <a16:creationId xmlns:a16="http://schemas.microsoft.com/office/drawing/2014/main" id="{F3B2041B-0F5F-4D44-A11E-9F5098E03469}"/>
                  </a:ext>
                </a:extLst>
              </p:cNvPr>
              <p:cNvSpPr txBox="1"/>
              <p:nvPr/>
            </p:nvSpPr>
            <p:spPr>
              <a:xfrm>
                <a:off x="1393682" y="3451859"/>
                <a:ext cx="2377440" cy="509458"/>
              </a:xfrm>
              <a:prstGeom prst="rect">
                <a:avLst/>
              </a:prstGeom>
            </p:spPr>
            <p:txBody>
              <a:bodyPr vert="horz" wrap="square" lIns="0" tIns="16851" rIns="0" bIns="0" rtlCol="0" anchor="ctr">
                <a:spAutoFit/>
              </a:bodyPr>
              <a:lstStyle/>
              <a:p>
                <a:pPr marL="16510" marR="0" lvl="0" indent="0" defTabSz="1213269" rtl="0" eaLnBrk="1" fontAlgn="auto" latinLnBrk="0" hangingPunct="1">
                  <a:lnSpc>
                    <a:spcPct val="100000"/>
                  </a:lnSpc>
                  <a:spcBef>
                    <a:spcPts val="13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>
                    <a:solidFill>
                      <a:schemeClr val="accent2"/>
                    </a:solidFill>
                    <a:cs typeface="Arial"/>
                  </a:rPr>
                  <a:t>Vitamin and mineral deficiencies</a:t>
                </a:r>
                <a:endParaRPr lang="en-GB" sz="1600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grpSp>
            <p:nvGrpSpPr>
              <p:cNvPr id="355" name="Group 354">
                <a:extLst>
                  <a:ext uri="{FF2B5EF4-FFF2-40B4-BE49-F238E27FC236}">
                    <a16:creationId xmlns:a16="http://schemas.microsoft.com/office/drawing/2014/main" id="{2670B6A8-A599-4065-9BF5-942B8A538ECE}"/>
                  </a:ext>
                </a:extLst>
              </p:cNvPr>
              <p:cNvGrpSpPr/>
              <p:nvPr/>
            </p:nvGrpSpPr>
            <p:grpSpPr>
              <a:xfrm>
                <a:off x="592629" y="3400264"/>
                <a:ext cx="686249" cy="612648"/>
                <a:chOff x="592629" y="3400264"/>
                <a:chExt cx="686249" cy="612648"/>
              </a:xfrm>
            </p:grpSpPr>
            <p:sp>
              <p:nvSpPr>
                <p:cNvPr id="356" name="Rectangle: Rounded Corners 355">
                  <a:extLst>
                    <a:ext uri="{FF2B5EF4-FFF2-40B4-BE49-F238E27FC236}">
                      <a16:creationId xmlns:a16="http://schemas.microsoft.com/office/drawing/2014/main" id="{C5F60A79-AB12-4A07-A7E0-39858EE398B1}"/>
                    </a:ext>
                  </a:extLst>
                </p:cNvPr>
                <p:cNvSpPr/>
                <p:nvPr/>
              </p:nvSpPr>
              <p:spPr>
                <a:xfrm>
                  <a:off x="603590" y="3400264"/>
                  <a:ext cx="675288" cy="612648"/>
                </a:xfrm>
                <a:prstGeom prst="roundRect">
                  <a:avLst/>
                </a:prstGeom>
                <a:solidFill>
                  <a:schemeClr val="bg2"/>
                </a:solidFill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accent2"/>
                    </a:solidFill>
                  </a:endParaRPr>
                </a:p>
              </p:txBody>
            </p:sp>
            <p:pic>
              <p:nvPicPr>
                <p:cNvPr id="357" name="Graphic 356" descr="Mental Health with solid fill">
                  <a:extLst>
                    <a:ext uri="{FF2B5EF4-FFF2-40B4-BE49-F238E27FC236}">
                      <a16:creationId xmlns:a16="http://schemas.microsoft.com/office/drawing/2014/main" id="{5997C6EA-9DD5-437B-B90F-FC79EBED1E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>
                  <a:extLst>
                    <a:ext uri="{96DAC541-7B7A-43D3-8B79-37D633B846F1}">
                      <asvg:svgBlip xmlns:asvg="http://schemas.microsoft.com/office/drawing/2016/SVG/main" r:embed="rId2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509" y="3611499"/>
                  <a:ext cx="401225" cy="401225"/>
                </a:xfrm>
                <a:prstGeom prst="rect">
                  <a:avLst/>
                </a:prstGeom>
              </p:spPr>
            </p:pic>
            <p:pic>
              <p:nvPicPr>
                <p:cNvPr id="358" name="Graphic 357" descr="Medicine with solid fill">
                  <a:extLst>
                    <a:ext uri="{FF2B5EF4-FFF2-40B4-BE49-F238E27FC236}">
                      <a16:creationId xmlns:a16="http://schemas.microsoft.com/office/drawing/2014/main" id="{5FC9F8C9-8880-446E-BBFE-8FBEEC055D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9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2629" y="3441092"/>
                  <a:ext cx="382255" cy="38225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40" name="Group 339">
              <a:extLst>
                <a:ext uri="{FF2B5EF4-FFF2-40B4-BE49-F238E27FC236}">
                  <a16:creationId xmlns:a16="http://schemas.microsoft.com/office/drawing/2014/main" id="{DFB47834-D043-4C1F-BF13-F788303F20C3}"/>
                </a:ext>
              </a:extLst>
            </p:cNvPr>
            <p:cNvGrpSpPr/>
            <p:nvPr/>
          </p:nvGrpSpPr>
          <p:grpSpPr>
            <a:xfrm>
              <a:off x="585846" y="4259882"/>
              <a:ext cx="3178493" cy="623559"/>
              <a:chOff x="592629" y="4126092"/>
              <a:chExt cx="3178493" cy="623559"/>
            </a:xfrm>
          </p:grpSpPr>
          <p:sp>
            <p:nvSpPr>
              <p:cNvPr id="349" name="object 24">
                <a:extLst>
                  <a:ext uri="{FF2B5EF4-FFF2-40B4-BE49-F238E27FC236}">
                    <a16:creationId xmlns:a16="http://schemas.microsoft.com/office/drawing/2014/main" id="{D9559D5E-38A5-4232-A2A7-FFB0D8884CB7}"/>
                  </a:ext>
                </a:extLst>
              </p:cNvPr>
              <p:cNvSpPr txBox="1"/>
              <p:nvPr/>
            </p:nvSpPr>
            <p:spPr>
              <a:xfrm>
                <a:off x="1393682" y="4177687"/>
                <a:ext cx="2377440" cy="509458"/>
              </a:xfrm>
              <a:prstGeom prst="rect">
                <a:avLst/>
              </a:prstGeom>
            </p:spPr>
            <p:txBody>
              <a:bodyPr vert="horz" wrap="square" lIns="0" tIns="16851" rIns="0" bIns="0" rtlCol="0" anchor="ctr">
                <a:spAutoFit/>
              </a:bodyPr>
              <a:lstStyle/>
              <a:p>
                <a:pPr marL="16851" marR="0" lvl="0" indent="0" defTabSz="1213269" rtl="0" eaLnBrk="1" fontAlgn="auto" latinLnBrk="0" hangingPunct="1">
                  <a:lnSpc>
                    <a:spcPct val="100000"/>
                  </a:lnSpc>
                  <a:spcBef>
                    <a:spcPts val="13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>
                    <a:solidFill>
                      <a:schemeClr val="accent2"/>
                    </a:solidFill>
                    <a:cs typeface="Arial" panose="020B0604020202020204" pitchFamily="34" charset="0"/>
                  </a:rPr>
                  <a:t>Immunity </a:t>
                </a:r>
                <a:r>
                  <a:rPr lang="en-GB" sz="1600">
                    <a:cs typeface="Arial" panose="020B0604020202020204" pitchFamily="34" charset="0"/>
                  </a:rPr>
                  <a:t>incl. anti-microbial resistance</a:t>
                </a:r>
                <a:endParaRPr kumimoji="0" lang="en-GB" sz="1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grpSp>
            <p:nvGrpSpPr>
              <p:cNvPr id="350" name="Group 349">
                <a:extLst>
                  <a:ext uri="{FF2B5EF4-FFF2-40B4-BE49-F238E27FC236}">
                    <a16:creationId xmlns:a16="http://schemas.microsoft.com/office/drawing/2014/main" id="{E6232E08-A6C5-4F8D-9E4F-C796C891D840}"/>
                  </a:ext>
                </a:extLst>
              </p:cNvPr>
              <p:cNvGrpSpPr/>
              <p:nvPr/>
            </p:nvGrpSpPr>
            <p:grpSpPr>
              <a:xfrm>
                <a:off x="592629" y="4126092"/>
                <a:ext cx="692174" cy="623559"/>
                <a:chOff x="592629" y="4126092"/>
                <a:chExt cx="692174" cy="623559"/>
              </a:xfrm>
            </p:grpSpPr>
            <p:sp>
              <p:nvSpPr>
                <p:cNvPr id="351" name="Rectangle: Rounded Corners 350">
                  <a:extLst>
                    <a:ext uri="{FF2B5EF4-FFF2-40B4-BE49-F238E27FC236}">
                      <a16:creationId xmlns:a16="http://schemas.microsoft.com/office/drawing/2014/main" id="{EEC201AC-20F7-447E-87E2-057F59AA53A2}"/>
                    </a:ext>
                  </a:extLst>
                </p:cNvPr>
                <p:cNvSpPr/>
                <p:nvPr/>
              </p:nvSpPr>
              <p:spPr>
                <a:xfrm>
                  <a:off x="603590" y="4126092"/>
                  <a:ext cx="675288" cy="612648"/>
                </a:xfrm>
                <a:prstGeom prst="roundRect">
                  <a:avLst/>
                </a:prstGeom>
                <a:solidFill>
                  <a:schemeClr val="bg2"/>
                </a:solidFill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accent2"/>
                    </a:solidFill>
                  </a:endParaRPr>
                </a:p>
              </p:txBody>
            </p:sp>
            <p:pic>
              <p:nvPicPr>
                <p:cNvPr id="352" name="Graphic 351" descr="Germ with solid fill">
                  <a:extLst>
                    <a:ext uri="{FF2B5EF4-FFF2-40B4-BE49-F238E27FC236}">
                      <a16:creationId xmlns:a16="http://schemas.microsoft.com/office/drawing/2014/main" id="{908C7BAC-1187-413F-9952-7EF4D88591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1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8284" y="4373132"/>
                  <a:ext cx="376519" cy="376519"/>
                </a:xfrm>
                <a:prstGeom prst="rect">
                  <a:avLst/>
                </a:prstGeom>
              </p:spPr>
            </p:pic>
            <p:pic>
              <p:nvPicPr>
                <p:cNvPr id="353" name="Graphic 352" descr="Pandemic flattening curve bar graph with solid fill">
                  <a:extLst>
                    <a:ext uri="{FF2B5EF4-FFF2-40B4-BE49-F238E27FC236}">
                      <a16:creationId xmlns:a16="http://schemas.microsoft.com/office/drawing/2014/main" id="{4F404D5A-6B64-44BE-AC69-FD4FA5473C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3">
                  <a:extLs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2629" y="4140017"/>
                  <a:ext cx="399829" cy="399829"/>
                </a:xfrm>
                <a:prstGeom prst="rect">
                  <a:avLst/>
                </a:prstGeom>
              </p:spPr>
            </p:pic>
          </p:grpSp>
        </p:grpSp>
        <p:sp>
          <p:nvSpPr>
            <p:cNvPr id="341" name="object 24">
              <a:extLst>
                <a:ext uri="{FF2B5EF4-FFF2-40B4-BE49-F238E27FC236}">
                  <a16:creationId xmlns:a16="http://schemas.microsoft.com/office/drawing/2014/main" id="{F9105BE2-AFB5-4D0B-8EA3-4970DDDBC0C4}"/>
                </a:ext>
              </a:extLst>
            </p:cNvPr>
            <p:cNvSpPr txBox="1"/>
            <p:nvPr/>
          </p:nvSpPr>
          <p:spPr>
            <a:xfrm>
              <a:off x="1386899" y="1668222"/>
              <a:ext cx="2377440" cy="509458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spAutoFit/>
            </a:bodyPr>
            <a:lstStyle/>
            <a:p>
              <a:pPr marL="16851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>
                  <a:solidFill>
                    <a:schemeClr val="accent2"/>
                  </a:solidFill>
                  <a:cs typeface="Arial" panose="020B0604020202020204" pitchFamily="34" charset="0"/>
                </a:rPr>
                <a:t>(Hidden) Hunger </a:t>
              </a:r>
              <a:r>
                <a:rPr lang="en-GB" sz="1600">
                  <a:cs typeface="Arial" panose="020B0604020202020204" pitchFamily="34" charset="0"/>
                </a:rPr>
                <a:t>and</a:t>
              </a:r>
              <a:r>
                <a:rPr lang="en-GB" sz="1600" b="1">
                  <a:solidFill>
                    <a:schemeClr val="accent2"/>
                  </a:solidFill>
                  <a:cs typeface="Arial" panose="020B0604020202020204" pitchFamily="34" charset="0"/>
                </a:rPr>
                <a:t> malnutrition</a:t>
              </a:r>
              <a:endParaRPr kumimoji="0" lang="en-GB" sz="160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342" name="Group 341">
              <a:extLst>
                <a:ext uri="{FF2B5EF4-FFF2-40B4-BE49-F238E27FC236}">
                  <a16:creationId xmlns:a16="http://schemas.microsoft.com/office/drawing/2014/main" id="{7462C8A2-FBDD-4471-A4D8-E4849ACD9A10}"/>
                </a:ext>
              </a:extLst>
            </p:cNvPr>
            <p:cNvGrpSpPr/>
            <p:nvPr/>
          </p:nvGrpSpPr>
          <p:grpSpPr>
            <a:xfrm>
              <a:off x="604747" y="1616043"/>
              <a:ext cx="675288" cy="613816"/>
              <a:chOff x="611530" y="1856673"/>
              <a:chExt cx="675288" cy="613816"/>
            </a:xfrm>
          </p:grpSpPr>
          <p:sp>
            <p:nvSpPr>
              <p:cNvPr id="343" name="Rectangle: Rounded Corners 342">
                <a:extLst>
                  <a:ext uri="{FF2B5EF4-FFF2-40B4-BE49-F238E27FC236}">
                    <a16:creationId xmlns:a16="http://schemas.microsoft.com/office/drawing/2014/main" id="{1F6BC24B-7F5C-4BB5-A42C-E2A4AA6EF2B8}"/>
                  </a:ext>
                </a:extLst>
              </p:cNvPr>
              <p:cNvSpPr/>
              <p:nvPr/>
            </p:nvSpPr>
            <p:spPr>
              <a:xfrm>
                <a:off x="611530" y="1856673"/>
                <a:ext cx="675288" cy="613816"/>
              </a:xfrm>
              <a:prstGeom prst="roundRect">
                <a:avLst/>
              </a:prstGeom>
              <a:noFill/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2"/>
                  </a:solidFill>
                </a:endParaRPr>
              </a:p>
            </p:txBody>
          </p:sp>
          <p:grpSp>
            <p:nvGrpSpPr>
              <p:cNvPr id="344" name="Group 343">
                <a:extLst>
                  <a:ext uri="{FF2B5EF4-FFF2-40B4-BE49-F238E27FC236}">
                    <a16:creationId xmlns:a16="http://schemas.microsoft.com/office/drawing/2014/main" id="{BCD386B1-64F4-4316-95D8-9AF35B00F514}"/>
                  </a:ext>
                </a:extLst>
              </p:cNvPr>
              <p:cNvGrpSpPr/>
              <p:nvPr/>
            </p:nvGrpSpPr>
            <p:grpSpPr>
              <a:xfrm>
                <a:off x="672069" y="1951584"/>
                <a:ext cx="554210" cy="423994"/>
                <a:chOff x="4295775" y="2046288"/>
                <a:chExt cx="3614738" cy="2765425"/>
              </a:xfrm>
              <a:solidFill>
                <a:schemeClr val="accent2"/>
              </a:solidFill>
            </p:grpSpPr>
            <p:sp>
              <p:nvSpPr>
                <p:cNvPr id="346" name="Freeform 5">
                  <a:extLst>
                    <a:ext uri="{FF2B5EF4-FFF2-40B4-BE49-F238E27FC236}">
                      <a16:creationId xmlns:a16="http://schemas.microsoft.com/office/drawing/2014/main" id="{56751C65-1898-442B-BC06-653E0465B3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08888" y="2046288"/>
                  <a:ext cx="301625" cy="2765425"/>
                </a:xfrm>
                <a:custGeom>
                  <a:avLst/>
                  <a:gdLst>
                    <a:gd name="T0" fmla="*/ 73 w 80"/>
                    <a:gd name="T1" fmla="*/ 392 h 732"/>
                    <a:gd name="T2" fmla="*/ 64 w 80"/>
                    <a:gd name="T3" fmla="*/ 713 h 732"/>
                    <a:gd name="T4" fmla="*/ 45 w 80"/>
                    <a:gd name="T5" fmla="*/ 732 h 732"/>
                    <a:gd name="T6" fmla="*/ 30 w 80"/>
                    <a:gd name="T7" fmla="*/ 713 h 732"/>
                    <a:gd name="T8" fmla="*/ 32 w 80"/>
                    <a:gd name="T9" fmla="*/ 413 h 732"/>
                    <a:gd name="T10" fmla="*/ 14 w 80"/>
                    <a:gd name="T11" fmla="*/ 387 h 732"/>
                    <a:gd name="T12" fmla="*/ 5 w 80"/>
                    <a:gd name="T13" fmla="*/ 368 h 732"/>
                    <a:gd name="T14" fmla="*/ 6 w 80"/>
                    <a:gd name="T15" fmla="*/ 172 h 732"/>
                    <a:gd name="T16" fmla="*/ 18 w 80"/>
                    <a:gd name="T17" fmla="*/ 45 h 732"/>
                    <a:gd name="T18" fmla="*/ 27 w 80"/>
                    <a:gd name="T19" fmla="*/ 15 h 732"/>
                    <a:gd name="T20" fmla="*/ 46 w 80"/>
                    <a:gd name="T21" fmla="*/ 0 h 732"/>
                    <a:gd name="T22" fmla="*/ 66 w 80"/>
                    <a:gd name="T23" fmla="*/ 16 h 732"/>
                    <a:gd name="T24" fmla="*/ 74 w 80"/>
                    <a:gd name="T25" fmla="*/ 51 h 732"/>
                    <a:gd name="T26" fmla="*/ 74 w 80"/>
                    <a:gd name="T27" fmla="*/ 266 h 732"/>
                    <a:gd name="T28" fmla="*/ 74 w 80"/>
                    <a:gd name="T29" fmla="*/ 392 h 732"/>
                    <a:gd name="T30" fmla="*/ 73 w 80"/>
                    <a:gd name="T31" fmla="*/ 392 h 7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0" h="732">
                      <a:moveTo>
                        <a:pt x="73" y="392"/>
                      </a:moveTo>
                      <a:cubicBezTo>
                        <a:pt x="70" y="499"/>
                        <a:pt x="66" y="606"/>
                        <a:pt x="64" y="713"/>
                      </a:cubicBezTo>
                      <a:cubicBezTo>
                        <a:pt x="64" y="728"/>
                        <a:pt x="59" y="732"/>
                        <a:pt x="45" y="732"/>
                      </a:cubicBezTo>
                      <a:cubicBezTo>
                        <a:pt x="28" y="732"/>
                        <a:pt x="30" y="723"/>
                        <a:pt x="30" y="713"/>
                      </a:cubicBezTo>
                      <a:cubicBezTo>
                        <a:pt x="31" y="613"/>
                        <a:pt x="32" y="513"/>
                        <a:pt x="32" y="413"/>
                      </a:cubicBezTo>
                      <a:cubicBezTo>
                        <a:pt x="32" y="401"/>
                        <a:pt x="34" y="388"/>
                        <a:pt x="14" y="387"/>
                      </a:cubicBezTo>
                      <a:cubicBezTo>
                        <a:pt x="4" y="387"/>
                        <a:pt x="5" y="376"/>
                        <a:pt x="5" y="368"/>
                      </a:cubicBezTo>
                      <a:cubicBezTo>
                        <a:pt x="0" y="303"/>
                        <a:pt x="6" y="237"/>
                        <a:pt x="6" y="172"/>
                      </a:cubicBezTo>
                      <a:cubicBezTo>
                        <a:pt x="6" y="130"/>
                        <a:pt x="9" y="87"/>
                        <a:pt x="18" y="45"/>
                      </a:cubicBezTo>
                      <a:cubicBezTo>
                        <a:pt x="20" y="35"/>
                        <a:pt x="23" y="25"/>
                        <a:pt x="27" y="15"/>
                      </a:cubicBezTo>
                      <a:cubicBezTo>
                        <a:pt x="30" y="7"/>
                        <a:pt x="35" y="0"/>
                        <a:pt x="46" y="0"/>
                      </a:cubicBezTo>
                      <a:cubicBezTo>
                        <a:pt x="57" y="0"/>
                        <a:pt x="62" y="7"/>
                        <a:pt x="66" y="16"/>
                      </a:cubicBezTo>
                      <a:cubicBezTo>
                        <a:pt x="70" y="27"/>
                        <a:pt x="72" y="39"/>
                        <a:pt x="74" y="51"/>
                      </a:cubicBezTo>
                      <a:cubicBezTo>
                        <a:pt x="80" y="123"/>
                        <a:pt x="72" y="195"/>
                        <a:pt x="74" y="266"/>
                      </a:cubicBezTo>
                      <a:cubicBezTo>
                        <a:pt x="75" y="308"/>
                        <a:pt x="74" y="350"/>
                        <a:pt x="74" y="392"/>
                      </a:cubicBezTo>
                      <a:cubicBezTo>
                        <a:pt x="73" y="392"/>
                        <a:pt x="73" y="392"/>
                        <a:pt x="73" y="39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347" name="Freeform 6">
                  <a:extLst>
                    <a:ext uri="{FF2B5EF4-FFF2-40B4-BE49-F238E27FC236}">
                      <a16:creationId xmlns:a16="http://schemas.microsoft.com/office/drawing/2014/main" id="{75454E19-44E9-4E40-8A60-77D245B53B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5775" y="2139951"/>
                  <a:ext cx="476250" cy="2592388"/>
                </a:xfrm>
                <a:custGeom>
                  <a:avLst/>
                  <a:gdLst>
                    <a:gd name="T0" fmla="*/ 30 w 126"/>
                    <a:gd name="T1" fmla="*/ 164 h 686"/>
                    <a:gd name="T2" fmla="*/ 37 w 126"/>
                    <a:gd name="T3" fmla="*/ 140 h 686"/>
                    <a:gd name="T4" fmla="*/ 37 w 126"/>
                    <a:gd name="T5" fmla="*/ 38 h 686"/>
                    <a:gd name="T6" fmla="*/ 40 w 126"/>
                    <a:gd name="T7" fmla="*/ 12 h 686"/>
                    <a:gd name="T8" fmla="*/ 47 w 126"/>
                    <a:gd name="T9" fmla="*/ 4 h 686"/>
                    <a:gd name="T10" fmla="*/ 52 w 126"/>
                    <a:gd name="T11" fmla="*/ 12 h 686"/>
                    <a:gd name="T12" fmla="*/ 56 w 126"/>
                    <a:gd name="T13" fmla="*/ 56 h 686"/>
                    <a:gd name="T14" fmla="*/ 56 w 126"/>
                    <a:gd name="T15" fmla="*/ 137 h 686"/>
                    <a:gd name="T16" fmla="*/ 59 w 126"/>
                    <a:gd name="T17" fmla="*/ 163 h 686"/>
                    <a:gd name="T18" fmla="*/ 68 w 126"/>
                    <a:gd name="T19" fmla="*/ 132 h 686"/>
                    <a:gd name="T20" fmla="*/ 68 w 126"/>
                    <a:gd name="T21" fmla="*/ 27 h 686"/>
                    <a:gd name="T22" fmla="*/ 78 w 126"/>
                    <a:gd name="T23" fmla="*/ 0 h 686"/>
                    <a:gd name="T24" fmla="*/ 94 w 126"/>
                    <a:gd name="T25" fmla="*/ 162 h 686"/>
                    <a:gd name="T26" fmla="*/ 99 w 126"/>
                    <a:gd name="T27" fmla="*/ 73 h 686"/>
                    <a:gd name="T28" fmla="*/ 101 w 126"/>
                    <a:gd name="T29" fmla="*/ 13 h 686"/>
                    <a:gd name="T30" fmla="*/ 106 w 126"/>
                    <a:gd name="T31" fmla="*/ 4 h 686"/>
                    <a:gd name="T32" fmla="*/ 113 w 126"/>
                    <a:gd name="T33" fmla="*/ 12 h 686"/>
                    <a:gd name="T34" fmla="*/ 124 w 126"/>
                    <a:gd name="T35" fmla="*/ 91 h 686"/>
                    <a:gd name="T36" fmla="*/ 125 w 126"/>
                    <a:gd name="T37" fmla="*/ 167 h 686"/>
                    <a:gd name="T38" fmla="*/ 110 w 126"/>
                    <a:gd name="T39" fmla="*/ 202 h 686"/>
                    <a:gd name="T40" fmla="*/ 76 w 126"/>
                    <a:gd name="T41" fmla="*/ 280 h 686"/>
                    <a:gd name="T42" fmla="*/ 84 w 126"/>
                    <a:gd name="T43" fmla="*/ 655 h 686"/>
                    <a:gd name="T44" fmla="*/ 49 w 126"/>
                    <a:gd name="T45" fmla="*/ 679 h 686"/>
                    <a:gd name="T46" fmla="*/ 42 w 126"/>
                    <a:gd name="T47" fmla="*/ 659 h 686"/>
                    <a:gd name="T48" fmla="*/ 45 w 126"/>
                    <a:gd name="T49" fmla="*/ 399 h 686"/>
                    <a:gd name="T50" fmla="*/ 49 w 126"/>
                    <a:gd name="T51" fmla="*/ 269 h 686"/>
                    <a:gd name="T52" fmla="*/ 25 w 126"/>
                    <a:gd name="T53" fmla="*/ 209 h 686"/>
                    <a:gd name="T54" fmla="*/ 1 w 126"/>
                    <a:gd name="T55" fmla="*/ 153 h 686"/>
                    <a:gd name="T56" fmla="*/ 11 w 126"/>
                    <a:gd name="T57" fmla="*/ 20 h 686"/>
                    <a:gd name="T58" fmla="*/ 20 w 126"/>
                    <a:gd name="T59" fmla="*/ 4 h 686"/>
                    <a:gd name="T60" fmla="*/ 26 w 126"/>
                    <a:gd name="T61" fmla="*/ 21 h 686"/>
                    <a:gd name="T62" fmla="*/ 25 w 126"/>
                    <a:gd name="T63" fmla="*/ 121 h 686"/>
                    <a:gd name="T64" fmla="*/ 30 w 126"/>
                    <a:gd name="T65" fmla="*/ 164 h 6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6" h="686">
                      <a:moveTo>
                        <a:pt x="30" y="164"/>
                      </a:moveTo>
                      <a:cubicBezTo>
                        <a:pt x="39" y="156"/>
                        <a:pt x="37" y="147"/>
                        <a:pt x="37" y="140"/>
                      </a:cubicBezTo>
                      <a:cubicBezTo>
                        <a:pt x="37" y="106"/>
                        <a:pt x="37" y="72"/>
                        <a:pt x="37" y="38"/>
                      </a:cubicBezTo>
                      <a:cubicBezTo>
                        <a:pt x="38" y="29"/>
                        <a:pt x="39" y="21"/>
                        <a:pt x="40" y="12"/>
                      </a:cubicBezTo>
                      <a:cubicBezTo>
                        <a:pt x="41" y="8"/>
                        <a:pt x="42" y="3"/>
                        <a:pt x="47" y="4"/>
                      </a:cubicBezTo>
                      <a:cubicBezTo>
                        <a:pt x="49" y="5"/>
                        <a:pt x="52" y="9"/>
                        <a:pt x="52" y="12"/>
                      </a:cubicBezTo>
                      <a:cubicBezTo>
                        <a:pt x="54" y="26"/>
                        <a:pt x="56" y="41"/>
                        <a:pt x="56" y="56"/>
                      </a:cubicBezTo>
                      <a:cubicBezTo>
                        <a:pt x="56" y="83"/>
                        <a:pt x="56" y="110"/>
                        <a:pt x="56" y="137"/>
                      </a:cubicBezTo>
                      <a:cubicBezTo>
                        <a:pt x="56" y="146"/>
                        <a:pt x="57" y="154"/>
                        <a:pt x="59" y="163"/>
                      </a:cubicBezTo>
                      <a:cubicBezTo>
                        <a:pt x="68" y="154"/>
                        <a:pt x="68" y="143"/>
                        <a:pt x="68" y="132"/>
                      </a:cubicBezTo>
                      <a:cubicBezTo>
                        <a:pt x="68" y="97"/>
                        <a:pt x="68" y="62"/>
                        <a:pt x="68" y="27"/>
                      </a:cubicBezTo>
                      <a:cubicBezTo>
                        <a:pt x="69" y="19"/>
                        <a:pt x="68" y="10"/>
                        <a:pt x="78" y="0"/>
                      </a:cubicBezTo>
                      <a:cubicBezTo>
                        <a:pt x="91" y="56"/>
                        <a:pt x="79" y="111"/>
                        <a:pt x="94" y="162"/>
                      </a:cubicBezTo>
                      <a:cubicBezTo>
                        <a:pt x="103" y="133"/>
                        <a:pt x="100" y="103"/>
                        <a:pt x="99" y="73"/>
                      </a:cubicBezTo>
                      <a:cubicBezTo>
                        <a:pt x="98" y="53"/>
                        <a:pt x="99" y="33"/>
                        <a:pt x="101" y="13"/>
                      </a:cubicBezTo>
                      <a:cubicBezTo>
                        <a:pt x="101" y="9"/>
                        <a:pt x="102" y="4"/>
                        <a:pt x="106" y="4"/>
                      </a:cubicBezTo>
                      <a:cubicBezTo>
                        <a:pt x="111" y="4"/>
                        <a:pt x="112" y="8"/>
                        <a:pt x="113" y="12"/>
                      </a:cubicBezTo>
                      <a:cubicBezTo>
                        <a:pt x="121" y="38"/>
                        <a:pt x="122" y="65"/>
                        <a:pt x="124" y="91"/>
                      </a:cubicBezTo>
                      <a:cubicBezTo>
                        <a:pt x="125" y="117"/>
                        <a:pt x="124" y="142"/>
                        <a:pt x="125" y="167"/>
                      </a:cubicBezTo>
                      <a:cubicBezTo>
                        <a:pt x="126" y="182"/>
                        <a:pt x="121" y="193"/>
                        <a:pt x="110" y="202"/>
                      </a:cubicBezTo>
                      <a:cubicBezTo>
                        <a:pt x="83" y="221"/>
                        <a:pt x="74" y="246"/>
                        <a:pt x="76" y="280"/>
                      </a:cubicBezTo>
                      <a:cubicBezTo>
                        <a:pt x="81" y="405"/>
                        <a:pt x="86" y="530"/>
                        <a:pt x="84" y="655"/>
                      </a:cubicBezTo>
                      <a:cubicBezTo>
                        <a:pt x="83" y="678"/>
                        <a:pt x="72" y="686"/>
                        <a:pt x="49" y="679"/>
                      </a:cubicBezTo>
                      <a:cubicBezTo>
                        <a:pt x="38" y="675"/>
                        <a:pt x="41" y="666"/>
                        <a:pt x="42" y="659"/>
                      </a:cubicBezTo>
                      <a:cubicBezTo>
                        <a:pt x="43" y="572"/>
                        <a:pt x="44" y="486"/>
                        <a:pt x="45" y="399"/>
                      </a:cubicBezTo>
                      <a:cubicBezTo>
                        <a:pt x="46" y="356"/>
                        <a:pt x="46" y="313"/>
                        <a:pt x="49" y="269"/>
                      </a:cubicBezTo>
                      <a:cubicBezTo>
                        <a:pt x="51" y="245"/>
                        <a:pt x="44" y="224"/>
                        <a:pt x="25" y="209"/>
                      </a:cubicBezTo>
                      <a:cubicBezTo>
                        <a:pt x="6" y="195"/>
                        <a:pt x="0" y="176"/>
                        <a:pt x="1" y="153"/>
                      </a:cubicBezTo>
                      <a:cubicBezTo>
                        <a:pt x="2" y="109"/>
                        <a:pt x="3" y="64"/>
                        <a:pt x="11" y="20"/>
                      </a:cubicBezTo>
                      <a:cubicBezTo>
                        <a:pt x="12" y="14"/>
                        <a:pt x="11" y="4"/>
                        <a:pt x="20" y="4"/>
                      </a:cubicBezTo>
                      <a:cubicBezTo>
                        <a:pt x="28" y="5"/>
                        <a:pt x="26" y="15"/>
                        <a:pt x="26" y="21"/>
                      </a:cubicBezTo>
                      <a:cubicBezTo>
                        <a:pt x="30" y="54"/>
                        <a:pt x="26" y="88"/>
                        <a:pt x="25" y="121"/>
                      </a:cubicBezTo>
                      <a:cubicBezTo>
                        <a:pt x="25" y="135"/>
                        <a:pt x="25" y="149"/>
                        <a:pt x="30" y="1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348" name="Freeform 7">
                  <a:extLst>
                    <a:ext uri="{FF2B5EF4-FFF2-40B4-BE49-F238E27FC236}">
                      <a16:creationId xmlns:a16="http://schemas.microsoft.com/office/drawing/2014/main" id="{EF110DA6-1FDD-4FE3-BA93-703DE1AEDD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57660">
                  <a:off x="4876797" y="2171699"/>
                  <a:ext cx="2501899" cy="2500312"/>
                </a:xfrm>
                <a:custGeom>
                  <a:avLst/>
                  <a:gdLst>
                    <a:gd name="T0" fmla="*/ 625 w 663"/>
                    <a:gd name="T1" fmla="*/ 177 h 662"/>
                    <a:gd name="T2" fmla="*/ 581 w 663"/>
                    <a:gd name="T3" fmla="*/ 191 h 662"/>
                    <a:gd name="T4" fmla="*/ 547 w 663"/>
                    <a:gd name="T5" fmla="*/ 183 h 662"/>
                    <a:gd name="T6" fmla="*/ 473 w 663"/>
                    <a:gd name="T7" fmla="*/ 251 h 662"/>
                    <a:gd name="T8" fmla="*/ 398 w 663"/>
                    <a:gd name="T9" fmla="*/ 186 h 662"/>
                    <a:gd name="T10" fmla="*/ 372 w 663"/>
                    <a:gd name="T11" fmla="*/ 191 h 662"/>
                    <a:gd name="T12" fmla="*/ 297 w 663"/>
                    <a:gd name="T13" fmla="*/ 115 h 662"/>
                    <a:gd name="T14" fmla="*/ 344 w 663"/>
                    <a:gd name="T15" fmla="*/ 46 h 662"/>
                    <a:gd name="T16" fmla="*/ 301 w 663"/>
                    <a:gd name="T17" fmla="*/ 0 h 662"/>
                    <a:gd name="T18" fmla="*/ 0 w 663"/>
                    <a:gd name="T19" fmla="*/ 330 h 662"/>
                    <a:gd name="T20" fmla="*/ 331 w 663"/>
                    <a:gd name="T21" fmla="*/ 662 h 662"/>
                    <a:gd name="T22" fmla="*/ 663 w 663"/>
                    <a:gd name="T23" fmla="*/ 330 h 662"/>
                    <a:gd name="T24" fmla="*/ 625 w 663"/>
                    <a:gd name="T25" fmla="*/ 177 h 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63" h="662">
                      <a:moveTo>
                        <a:pt x="625" y="177"/>
                      </a:moveTo>
                      <a:cubicBezTo>
                        <a:pt x="613" y="185"/>
                        <a:pt x="598" y="191"/>
                        <a:pt x="581" y="191"/>
                      </a:cubicBezTo>
                      <a:cubicBezTo>
                        <a:pt x="569" y="191"/>
                        <a:pt x="558" y="188"/>
                        <a:pt x="547" y="183"/>
                      </a:cubicBezTo>
                      <a:cubicBezTo>
                        <a:pt x="544" y="221"/>
                        <a:pt x="512" y="251"/>
                        <a:pt x="473" y="251"/>
                      </a:cubicBezTo>
                      <a:cubicBezTo>
                        <a:pt x="435" y="251"/>
                        <a:pt x="403" y="223"/>
                        <a:pt x="398" y="186"/>
                      </a:cubicBezTo>
                      <a:cubicBezTo>
                        <a:pt x="390" y="189"/>
                        <a:pt x="381" y="191"/>
                        <a:pt x="372" y="191"/>
                      </a:cubicBezTo>
                      <a:cubicBezTo>
                        <a:pt x="331" y="191"/>
                        <a:pt x="297" y="157"/>
                        <a:pt x="297" y="115"/>
                      </a:cubicBezTo>
                      <a:cubicBezTo>
                        <a:pt x="297" y="84"/>
                        <a:pt x="316" y="57"/>
                        <a:pt x="344" y="46"/>
                      </a:cubicBezTo>
                      <a:cubicBezTo>
                        <a:pt x="324" y="37"/>
                        <a:pt x="308" y="21"/>
                        <a:pt x="301" y="0"/>
                      </a:cubicBezTo>
                      <a:cubicBezTo>
                        <a:pt x="132" y="15"/>
                        <a:pt x="0" y="157"/>
                        <a:pt x="0" y="330"/>
                      </a:cubicBezTo>
                      <a:cubicBezTo>
                        <a:pt x="0" y="513"/>
                        <a:pt x="148" y="662"/>
                        <a:pt x="331" y="662"/>
                      </a:cubicBezTo>
                      <a:cubicBezTo>
                        <a:pt x="514" y="662"/>
                        <a:pt x="663" y="513"/>
                        <a:pt x="663" y="330"/>
                      </a:cubicBezTo>
                      <a:cubicBezTo>
                        <a:pt x="663" y="275"/>
                        <a:pt x="649" y="223"/>
                        <a:pt x="625" y="17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>
                    <a:solidFill>
                      <a:schemeClr val="accent2"/>
                    </a:solidFill>
                  </a:endParaRPr>
                </a:p>
              </p:txBody>
            </p:sp>
          </p:grpSp>
          <p:sp>
            <p:nvSpPr>
              <p:cNvPr id="345" name="Freeform 8">
                <a:extLst>
                  <a:ext uri="{FF2B5EF4-FFF2-40B4-BE49-F238E27FC236}">
                    <a16:creationId xmlns:a16="http://schemas.microsoft.com/office/drawing/2014/main" id="{0045A7C3-9123-4FD1-9D62-A7E4CE4C3542}"/>
                  </a:ext>
                </a:extLst>
              </p:cNvPr>
              <p:cNvSpPr>
                <a:spLocks/>
              </p:cNvSpPr>
              <p:nvPr/>
            </p:nvSpPr>
            <p:spPr bwMode="auto">
              <a:xfrm rot="257660">
                <a:off x="786754" y="1995622"/>
                <a:ext cx="331990" cy="332477"/>
              </a:xfrm>
              <a:custGeom>
                <a:avLst/>
                <a:gdLst>
                  <a:gd name="T0" fmla="*/ 537 w 574"/>
                  <a:gd name="T1" fmla="*/ 148 h 574"/>
                  <a:gd name="T2" fmla="*/ 503 w 574"/>
                  <a:gd name="T3" fmla="*/ 140 h 574"/>
                  <a:gd name="T4" fmla="*/ 429 w 574"/>
                  <a:gd name="T5" fmla="*/ 208 h 574"/>
                  <a:gd name="T6" fmla="*/ 354 w 574"/>
                  <a:gd name="T7" fmla="*/ 143 h 574"/>
                  <a:gd name="T8" fmla="*/ 328 w 574"/>
                  <a:gd name="T9" fmla="*/ 148 h 574"/>
                  <a:gd name="T10" fmla="*/ 253 w 574"/>
                  <a:gd name="T11" fmla="*/ 72 h 574"/>
                  <a:gd name="T12" fmla="*/ 300 w 574"/>
                  <a:gd name="T13" fmla="*/ 3 h 574"/>
                  <a:gd name="T14" fmla="*/ 295 w 574"/>
                  <a:gd name="T15" fmla="*/ 0 h 574"/>
                  <a:gd name="T16" fmla="*/ 287 w 574"/>
                  <a:gd name="T17" fmla="*/ 0 h 574"/>
                  <a:gd name="T18" fmla="*/ 0 w 574"/>
                  <a:gd name="T19" fmla="*/ 287 h 574"/>
                  <a:gd name="T20" fmla="*/ 287 w 574"/>
                  <a:gd name="T21" fmla="*/ 574 h 574"/>
                  <a:gd name="T22" fmla="*/ 574 w 574"/>
                  <a:gd name="T23" fmla="*/ 287 h 574"/>
                  <a:gd name="T24" fmla="*/ 538 w 574"/>
                  <a:gd name="T25" fmla="*/ 148 h 574"/>
                  <a:gd name="T26" fmla="*/ 537 w 574"/>
                  <a:gd name="T27" fmla="*/ 148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4" h="574">
                    <a:moveTo>
                      <a:pt x="537" y="148"/>
                    </a:moveTo>
                    <a:cubicBezTo>
                      <a:pt x="525" y="148"/>
                      <a:pt x="514" y="145"/>
                      <a:pt x="503" y="140"/>
                    </a:cubicBezTo>
                    <a:cubicBezTo>
                      <a:pt x="500" y="178"/>
                      <a:pt x="468" y="208"/>
                      <a:pt x="429" y="208"/>
                    </a:cubicBezTo>
                    <a:cubicBezTo>
                      <a:pt x="391" y="208"/>
                      <a:pt x="359" y="180"/>
                      <a:pt x="354" y="143"/>
                    </a:cubicBezTo>
                    <a:cubicBezTo>
                      <a:pt x="346" y="146"/>
                      <a:pt x="337" y="148"/>
                      <a:pt x="328" y="148"/>
                    </a:cubicBezTo>
                    <a:cubicBezTo>
                      <a:pt x="287" y="148"/>
                      <a:pt x="253" y="114"/>
                      <a:pt x="253" y="72"/>
                    </a:cubicBezTo>
                    <a:cubicBezTo>
                      <a:pt x="253" y="41"/>
                      <a:pt x="272" y="14"/>
                      <a:pt x="300" y="3"/>
                    </a:cubicBezTo>
                    <a:cubicBezTo>
                      <a:pt x="298" y="2"/>
                      <a:pt x="296" y="1"/>
                      <a:pt x="295" y="0"/>
                    </a:cubicBezTo>
                    <a:cubicBezTo>
                      <a:pt x="292" y="0"/>
                      <a:pt x="290" y="0"/>
                      <a:pt x="287" y="0"/>
                    </a:cubicBezTo>
                    <a:cubicBezTo>
                      <a:pt x="129" y="0"/>
                      <a:pt x="0" y="129"/>
                      <a:pt x="0" y="287"/>
                    </a:cubicBezTo>
                    <a:cubicBezTo>
                      <a:pt x="0" y="446"/>
                      <a:pt x="129" y="574"/>
                      <a:pt x="287" y="574"/>
                    </a:cubicBezTo>
                    <a:cubicBezTo>
                      <a:pt x="446" y="574"/>
                      <a:pt x="574" y="446"/>
                      <a:pt x="574" y="287"/>
                    </a:cubicBezTo>
                    <a:cubicBezTo>
                      <a:pt x="574" y="237"/>
                      <a:pt x="561" y="189"/>
                      <a:pt x="538" y="148"/>
                    </a:cubicBezTo>
                    <a:cubicBezTo>
                      <a:pt x="538" y="148"/>
                      <a:pt x="538" y="148"/>
                      <a:pt x="537" y="14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01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>
                  <a:solidFill>
                    <a:schemeClr val="accent2"/>
                  </a:solidFill>
                </a:endParaRPr>
              </a:p>
            </p:txBody>
          </p:sp>
        </p:grpSp>
      </p:grpSp>
      <p:grpSp>
        <p:nvGrpSpPr>
          <p:cNvPr id="367" name="Group 366">
            <a:extLst>
              <a:ext uri="{FF2B5EF4-FFF2-40B4-BE49-F238E27FC236}">
                <a16:creationId xmlns:a16="http://schemas.microsoft.com/office/drawing/2014/main" id="{0782C5F8-D538-4E8A-ACF5-06D50C4DD619}"/>
              </a:ext>
            </a:extLst>
          </p:cNvPr>
          <p:cNvGrpSpPr/>
          <p:nvPr/>
        </p:nvGrpSpPr>
        <p:grpSpPr>
          <a:xfrm>
            <a:off x="8110946" y="1324649"/>
            <a:ext cx="3657800" cy="4407039"/>
            <a:chOff x="8132718" y="1324649"/>
            <a:chExt cx="3657800" cy="4407039"/>
          </a:xfrm>
        </p:grpSpPr>
        <p:sp>
          <p:nvSpPr>
            <p:cNvPr id="368" name="Rectangle: Rounded Corners 367">
              <a:extLst>
                <a:ext uri="{FF2B5EF4-FFF2-40B4-BE49-F238E27FC236}">
                  <a16:creationId xmlns:a16="http://schemas.microsoft.com/office/drawing/2014/main" id="{F936F50F-D18D-4CEA-9FF8-A2A502E5C98B}"/>
                </a:ext>
              </a:extLst>
            </p:cNvPr>
            <p:cNvSpPr/>
            <p:nvPr/>
          </p:nvSpPr>
          <p:spPr>
            <a:xfrm>
              <a:off x="8132718" y="1324649"/>
              <a:ext cx="3657600" cy="4407039"/>
            </a:xfrm>
            <a:prstGeom prst="roundRect">
              <a:avLst>
                <a:gd name="adj" fmla="val 5483"/>
              </a:avLst>
            </a:prstGeom>
            <a:solidFill>
              <a:schemeClr val="bg1"/>
            </a:solidFill>
            <a:ln w="28575">
              <a:solidFill>
                <a:srgbClr val="BD0A7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9" name="Rectangle: Top Corners Rounded 368">
              <a:extLst>
                <a:ext uri="{FF2B5EF4-FFF2-40B4-BE49-F238E27FC236}">
                  <a16:creationId xmlns:a16="http://schemas.microsoft.com/office/drawing/2014/main" id="{A0440525-328B-46EB-ABC1-94E8F5D4008C}"/>
                </a:ext>
              </a:extLst>
            </p:cNvPr>
            <p:cNvSpPr/>
            <p:nvPr/>
          </p:nvSpPr>
          <p:spPr>
            <a:xfrm>
              <a:off x="8132918" y="5052091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rgbClr val="BD0A79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Healthy Livelihoods</a:t>
              </a:r>
            </a:p>
          </p:txBody>
        </p:sp>
        <p:grpSp>
          <p:nvGrpSpPr>
            <p:cNvPr id="370" name="Group 369">
              <a:extLst>
                <a:ext uri="{FF2B5EF4-FFF2-40B4-BE49-F238E27FC236}">
                  <a16:creationId xmlns:a16="http://schemas.microsoft.com/office/drawing/2014/main" id="{1CA32149-D191-4762-87CB-80A78A025305}"/>
                </a:ext>
              </a:extLst>
            </p:cNvPr>
            <p:cNvGrpSpPr/>
            <p:nvPr/>
          </p:nvGrpSpPr>
          <p:grpSpPr>
            <a:xfrm>
              <a:off x="11086040" y="5139142"/>
              <a:ext cx="528709" cy="528709"/>
              <a:chOff x="11152560" y="5379772"/>
              <a:chExt cx="528709" cy="528709"/>
            </a:xfrm>
          </p:grpSpPr>
          <p:sp>
            <p:nvSpPr>
              <p:cNvPr id="380" name="Oval 379">
                <a:extLst>
                  <a:ext uri="{FF2B5EF4-FFF2-40B4-BE49-F238E27FC236}">
                    <a16:creationId xmlns:a16="http://schemas.microsoft.com/office/drawing/2014/main" id="{0C24CCD7-488F-4738-A00F-B4B211E0752E}"/>
                  </a:ext>
                </a:extLst>
              </p:cNvPr>
              <p:cNvSpPr/>
              <p:nvPr/>
            </p:nvSpPr>
            <p:spPr>
              <a:xfrm>
                <a:off x="11152560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Chord 380">
                <a:extLst>
                  <a:ext uri="{FF2B5EF4-FFF2-40B4-BE49-F238E27FC236}">
                    <a16:creationId xmlns:a16="http://schemas.microsoft.com/office/drawing/2014/main" id="{47EC56D3-62AB-471E-8501-0672A3860BD7}"/>
                  </a:ext>
                </a:extLst>
              </p:cNvPr>
              <p:cNvSpPr/>
              <p:nvPr/>
            </p:nvSpPr>
            <p:spPr>
              <a:xfrm>
                <a:off x="11152560" y="5379772"/>
                <a:ext cx="528709" cy="528709"/>
              </a:xfrm>
              <a:prstGeom prst="chord">
                <a:avLst>
                  <a:gd name="adj1" fmla="val 1842146"/>
                  <a:gd name="adj2" fmla="val 8868556"/>
                </a:avLst>
              </a:prstGeom>
              <a:solidFill>
                <a:srgbClr val="BD0A79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71" name="object 24">
              <a:extLst>
                <a:ext uri="{FF2B5EF4-FFF2-40B4-BE49-F238E27FC236}">
                  <a16:creationId xmlns:a16="http://schemas.microsoft.com/office/drawing/2014/main" id="{2F207C5C-1BAF-4F37-B37F-1C9D71CB5A32}"/>
                </a:ext>
              </a:extLst>
            </p:cNvPr>
            <p:cNvSpPr txBox="1"/>
            <p:nvPr/>
          </p:nvSpPr>
          <p:spPr>
            <a:xfrm>
              <a:off x="9104234" y="1776820"/>
              <a:ext cx="2553400" cy="1992832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noAutofit/>
            </a:bodyPr>
            <a:lstStyle/>
            <a:p>
              <a:pPr marL="16510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>
                  <a:solidFill>
                    <a:srgbClr val="BD0A79"/>
                  </a:solidFill>
                  <a:cs typeface="Arial" panose="020B0604020202020204" pitchFamily="34" charset="0"/>
                </a:rPr>
                <a:t>Inequality</a:t>
              </a:r>
              <a:endParaRPr lang="en-US" sz="1600"/>
            </a:p>
            <a:p>
              <a:pPr marL="16510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lang="en-US" sz="1600">
                  <a:cs typeface="Arial" panose="020B0604020202020204" pitchFamily="34" charset="0"/>
                </a:rPr>
              </a:br>
              <a:r>
                <a:rPr lang="en-US" sz="1600">
                  <a:cs typeface="Arial" panose="020B0604020202020204" pitchFamily="34" charset="0"/>
                </a:rPr>
                <a:t>F</a:t>
              </a:r>
              <a:r>
                <a:rPr kumimoji="0" lang="en-US" sz="16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armers unable to generate a 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fair and stable income</a:t>
              </a:r>
              <a:r>
                <a:rPr kumimoji="0" lang="en-US" sz="1600" i="0" u="none" strike="noStrike" kern="1200" cap="none" spc="0" normalizeH="0" baseline="0" noProof="0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1600">
                  <a:cs typeface="Arial" panose="020B0604020202020204" pitchFamily="34" charset="0"/>
                </a:rPr>
                <a:t>in the value chain</a:t>
              </a:r>
              <a:br>
                <a:rPr lang="en-US" sz="1600">
                  <a:cs typeface="Arial" panose="020B0604020202020204" pitchFamily="34" charset="0"/>
                </a:rPr>
              </a:br>
              <a:endParaRPr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endParaRPr>
            </a:p>
            <a:p>
              <a:pPr marL="16510" defTabSz="1213269">
                <a:spcBef>
                  <a:spcPts val="133"/>
                </a:spcBef>
                <a:defRPr/>
              </a:pPr>
              <a:r>
                <a:rPr lang="en-US" sz="1600">
                  <a:cs typeface="Arial"/>
                </a:rPr>
                <a:t>Lacking </a:t>
              </a:r>
              <a:r>
                <a:rPr lang="en-US" sz="1600" b="1">
                  <a:solidFill>
                    <a:srgbClr val="BD0A79"/>
                  </a:solidFill>
                  <a:cs typeface="Arial"/>
                </a:rPr>
                <a:t>basic needs </a:t>
              </a:r>
              <a:r>
                <a:rPr lang="en-US" sz="1600">
                  <a:cs typeface="Arial"/>
                </a:rPr>
                <a:t>such as food, healthcare and education</a:t>
              </a:r>
              <a:endParaRPr lang="en-US" sz="1600">
                <a:cs typeface="Arial" panose="020B0604020202020204" pitchFamily="34" charset="0"/>
              </a:endParaRPr>
            </a:p>
          </p:txBody>
        </p:sp>
        <p:grpSp>
          <p:nvGrpSpPr>
            <p:cNvPr id="372" name="Group 371">
              <a:extLst>
                <a:ext uri="{FF2B5EF4-FFF2-40B4-BE49-F238E27FC236}">
                  <a16:creationId xmlns:a16="http://schemas.microsoft.com/office/drawing/2014/main" id="{54BAE6D7-3EF2-4F4D-A6D1-D4EEA6902F65}"/>
                </a:ext>
              </a:extLst>
            </p:cNvPr>
            <p:cNvGrpSpPr/>
            <p:nvPr/>
          </p:nvGrpSpPr>
          <p:grpSpPr>
            <a:xfrm>
              <a:off x="8289229" y="1616043"/>
              <a:ext cx="675288" cy="2299189"/>
              <a:chOff x="8355749" y="1864272"/>
              <a:chExt cx="675288" cy="2299189"/>
            </a:xfrm>
          </p:grpSpPr>
          <p:sp>
            <p:nvSpPr>
              <p:cNvPr id="374" name="Rectangle: Rounded Corners 373">
                <a:extLst>
                  <a:ext uri="{FF2B5EF4-FFF2-40B4-BE49-F238E27FC236}">
                    <a16:creationId xmlns:a16="http://schemas.microsoft.com/office/drawing/2014/main" id="{9BB5BFD9-5EE6-42CC-9DA9-A55E2BB37AE6}"/>
                  </a:ext>
                </a:extLst>
              </p:cNvPr>
              <p:cNvSpPr/>
              <p:nvPr/>
            </p:nvSpPr>
            <p:spPr>
              <a:xfrm>
                <a:off x="8355749" y="1864272"/>
                <a:ext cx="675288" cy="2299189"/>
              </a:xfrm>
              <a:prstGeom prst="roundRect">
                <a:avLst/>
              </a:prstGeom>
              <a:solidFill>
                <a:schemeClr val="bg2"/>
              </a:solidFill>
              <a:ln w="19050">
                <a:solidFill>
                  <a:srgbClr val="BD0A7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44220DF3-E91A-4332-B2EE-C77A13A84154}"/>
                  </a:ext>
                </a:extLst>
              </p:cNvPr>
              <p:cNvGrpSpPr/>
              <p:nvPr/>
            </p:nvGrpSpPr>
            <p:grpSpPr>
              <a:xfrm>
                <a:off x="8456697" y="1983702"/>
                <a:ext cx="473393" cy="2071386"/>
                <a:chOff x="8456697" y="2123393"/>
                <a:chExt cx="473393" cy="2071386"/>
              </a:xfrm>
            </p:grpSpPr>
            <p:pic>
              <p:nvPicPr>
                <p:cNvPr id="376" name="Graphic 375" descr="Farmer female with solid fill">
                  <a:extLst>
                    <a:ext uri="{FF2B5EF4-FFF2-40B4-BE49-F238E27FC236}">
                      <a16:creationId xmlns:a16="http://schemas.microsoft.com/office/drawing/2014/main" id="{DB63FD51-5DCE-4824-8FB1-1BE604788F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5">
                  <a:extLst>
                    <a:ext uri="{96DAC541-7B7A-43D3-8B79-37D633B846F1}">
                      <asvg:svgBlip xmlns:asvg="http://schemas.microsoft.com/office/drawing/2016/SVG/main" r:embed="rId3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78404" y="3219209"/>
                  <a:ext cx="429979" cy="429979"/>
                </a:xfrm>
                <a:prstGeom prst="rect">
                  <a:avLst/>
                </a:prstGeom>
              </p:spPr>
            </p:pic>
            <p:pic>
              <p:nvPicPr>
                <p:cNvPr id="377" name="Graphic 376" descr="Coins with solid fill">
                  <a:extLst>
                    <a:ext uri="{FF2B5EF4-FFF2-40B4-BE49-F238E27FC236}">
                      <a16:creationId xmlns:a16="http://schemas.microsoft.com/office/drawing/2014/main" id="{82A0A9C1-1787-48A9-B0CF-085B966F5A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7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00976" y="2715580"/>
                  <a:ext cx="384835" cy="384835"/>
                </a:xfrm>
                <a:prstGeom prst="rect">
                  <a:avLst/>
                </a:prstGeom>
              </p:spPr>
            </p:pic>
            <p:pic>
              <p:nvPicPr>
                <p:cNvPr id="378" name="Graphic 377" descr="Medical with solid fill">
                  <a:extLst>
                    <a:ext uri="{FF2B5EF4-FFF2-40B4-BE49-F238E27FC236}">
                      <a16:creationId xmlns:a16="http://schemas.microsoft.com/office/drawing/2014/main" id="{85D3A42F-481B-4F44-8928-667175E70A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9">
                  <a:extLst>
                    <a:ext uri="{96DAC541-7B7A-43D3-8B79-37D633B846F1}">
                      <asvg:svgBlip xmlns:asvg="http://schemas.microsoft.com/office/drawing/2016/SVG/main" r:embed="rId4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79994" y="3767983"/>
                  <a:ext cx="426798" cy="426796"/>
                </a:xfrm>
                <a:prstGeom prst="rect">
                  <a:avLst/>
                </a:prstGeom>
              </p:spPr>
            </p:pic>
            <p:pic>
              <p:nvPicPr>
                <p:cNvPr id="379" name="Graphic 378" descr="Store with solid fill">
                  <a:extLst>
                    <a:ext uri="{FF2B5EF4-FFF2-40B4-BE49-F238E27FC236}">
                      <a16:creationId xmlns:a16="http://schemas.microsoft.com/office/drawing/2014/main" id="{87A20489-5ED5-403C-98F2-28F4DCE86A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56697" y="2123393"/>
                  <a:ext cx="473393" cy="473393"/>
                </a:xfrm>
                <a:prstGeom prst="rect">
                  <a:avLst/>
                </a:prstGeom>
              </p:spPr>
            </p:pic>
          </p:grpSp>
        </p:grpSp>
        <p:pic>
          <p:nvPicPr>
            <p:cNvPr id="373" name="Graphic 372" descr="Farmer female with solid fill">
              <a:extLst>
                <a:ext uri="{FF2B5EF4-FFF2-40B4-BE49-F238E27FC236}">
                  <a16:creationId xmlns:a16="http://schemas.microsoft.com/office/drawing/2014/main" id="{173402AB-B8FB-4BBF-9F73-5BAD13CA6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11145450" y="5170940"/>
              <a:ext cx="429979" cy="4299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74779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LIg6XXsreTVnguws5P9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YC9_SDxYFmUIQ2La0J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PjrLl59GW19Wzyo_Bc2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96MedYRq6UIHc468C7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6ewJY2h071moo_pJn1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9JBanOjGEKq8uWNN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heme/theme1.xml><?xml version="1.0" encoding="utf-8"?>
<a:theme xmlns:a="http://schemas.openxmlformats.org/drawingml/2006/main" name="DSM / Multi color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5AD1217C-C2A8-4145-A417-1828340FB74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1e82cb03-88f0-48bb-a65d-3e95f13147ee" ContentTypeId="0x0101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a2251cd-bd5e-462d-8f0e-b8d48ef43808" xsi:nil="true"/>
    <DSMClassification xmlns="5a2251cd-bd5e-462d-8f0e-b8d48ef4380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F01345FC02FD4CBF6B6979B89E4C7B" ma:contentTypeVersion="14" ma:contentTypeDescription="Create a new document." ma:contentTypeScope="" ma:versionID="937ae632467355ddb390266862724714">
  <xsd:schema xmlns:xsd="http://www.w3.org/2001/XMLSchema" xmlns:xs="http://www.w3.org/2001/XMLSchema" xmlns:p="http://schemas.microsoft.com/office/2006/metadata/properties" xmlns:ns2="5a2251cd-bd5e-462d-8f0e-b8d48ef43808" xmlns:ns3="bf3f35e5-e17f-4474-8e91-7e7a7cdf945e" xmlns:ns4="08bcabbc-4297-45b6-83bb-1c258e54f8c3" targetNamespace="http://schemas.microsoft.com/office/2006/metadata/properties" ma:root="true" ma:fieldsID="7e29a8eeaab9d1c39c332e58556a6a5d" ns2:_="" ns3:_="" ns4:_="">
    <xsd:import namespace="5a2251cd-bd5e-462d-8f0e-b8d48ef43808"/>
    <xsd:import namespace="bf3f35e5-e17f-4474-8e91-7e7a7cdf945e"/>
    <xsd:import namespace="08bcabbc-4297-45b6-83bb-1c258e54f8c3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DSMClassification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2251cd-bd5e-462d-8f0e-b8d48ef4380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91213b06-8c38-47e2-adc7-7c19f723e866}" ma:internalName="TaxCatchAll" ma:showField="CatchAllData" ma:web="08bcabbc-4297-45b6-83bb-1c258e54f8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91213b06-8c38-47e2-adc7-7c19f723e866}" ma:internalName="TaxCatchAllLabel" ma:readOnly="true" ma:showField="CatchAllDataLabel" ma:web="08bcabbc-4297-45b6-83bb-1c258e54f8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SMClassification" ma:index="10" nillable="true" ma:displayName="DSMClassification" ma:format="Dropdown" ma:internalName="DSMClassification">
      <xsd:simpleType>
        <xsd:restriction base="dms:Choice">
          <xsd:enumeration value="CONFIDENTIAL"/>
          <xsd:enumeration value="CLASSIFIED PERSONNEL INFORMATION"/>
          <xsd:enumeration value="FOR INTERNAL USE ONLY"/>
          <xsd:enumeration value="PUBLIC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3f35e5-e17f-4474-8e91-7e7a7cdf94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bcabbc-4297-45b6-83bb-1c258e54f8c3" elementFormDefault="qualified">
    <xsd:import namespace="http://schemas.microsoft.com/office/2006/documentManagement/types"/>
    <xsd:import namespace="http://schemas.microsoft.com/office/infopath/2007/PartnerControls"/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9AE7AF-6B12-4FE3-980E-2155CA8FB38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7F7B9160-792D-4CBB-99B0-DDEC2CBDD9BB}">
  <ds:schemaRefs>
    <ds:schemaRef ds:uri="http://purl.org/dc/terms/"/>
    <ds:schemaRef ds:uri="80752fc1-eb41-4a81-b33f-940b400556ee"/>
    <ds:schemaRef ds:uri="http://schemas.microsoft.com/office/2006/documentManagement/types"/>
    <ds:schemaRef ds:uri="d7f08213-5cd2-4848-8339-43bf8f8edf7e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5a2251cd-bd5e-462d-8f0e-b8d48ef4380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B89C04C-B567-463A-9915-47FAF203A86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6D72B3D-828B-44C7-92D6-FD6F1E3C1E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2251cd-bd5e-462d-8f0e-b8d48ef43808"/>
    <ds:schemaRef ds:uri="bf3f35e5-e17f-4474-8e91-7e7a7cdf945e"/>
    <ds:schemaRef ds:uri="08bcabbc-4297-45b6-83bb-1c258e54f8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SM_PPT_multicolor</Template>
  <TotalTime>1284</TotalTime>
  <Words>2270</Words>
  <Application>Microsoft Office PowerPoint</Application>
  <PresentationFormat>Widescreen</PresentationFormat>
  <Paragraphs>361</Paragraphs>
  <Slides>26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Fira Sans Regular</vt:lpstr>
      <vt:lpstr>Fira Sans Light</vt:lpstr>
      <vt:lpstr>Fira Sans Medium</vt:lpstr>
      <vt:lpstr>Arial</vt:lpstr>
      <vt:lpstr>Trebuchet MS</vt:lpstr>
      <vt:lpstr>Fira Sans</vt:lpstr>
      <vt:lpstr>Calibri</vt:lpstr>
      <vt:lpstr>DSM / Multi color</vt:lpstr>
      <vt:lpstr>think-cell Slide</vt:lpstr>
      <vt:lpstr>Royal DSM</vt:lpstr>
      <vt:lpstr>More than a century of successful transformation</vt:lpstr>
      <vt:lpstr>Today’s global leader in Health, Nutrition &amp; Bioscience</vt:lpstr>
      <vt:lpstr>150 years of scientific heritage with worldwide facilities</vt:lpstr>
      <vt:lpstr>Scientific leadership enhanced through high quality M&amp;A</vt:lpstr>
      <vt:lpstr>Guiding our purpose-led, performance-driven culture </vt:lpstr>
      <vt:lpstr>Our purpose is to create  brighter lives for all </vt:lpstr>
      <vt:lpstr>Accelerating our purpose-led, performance-driven journey</vt:lpstr>
      <vt:lpstr>Multiple interconnected challenges to global food systems</vt:lpstr>
      <vt:lpstr>Caring for the world through our food system commitments</vt:lpstr>
      <vt:lpstr>Three Business Groups with clear end-market orientation </vt:lpstr>
      <vt:lpstr>Increased general awareness of the critical role of nutrition, supported by rapid developments in science &amp; technology</vt:lpstr>
      <vt:lpstr>PowerPoint Presentation</vt:lpstr>
      <vt:lpstr>Animal Nutrition &amp; Health (ANH) </vt:lpstr>
      <vt:lpstr>Our aim as DSM is to partner the industry to enable radically more sustainable animal production</vt:lpstr>
      <vt:lpstr>Making animal farming more sustainable </vt:lpstr>
      <vt:lpstr>Taking full responsibility for our own footprint and people</vt:lpstr>
      <vt:lpstr>Building a company that delivers long-term profitable growth</vt:lpstr>
      <vt:lpstr>We’re helping the industry meet this complex challenge, by offering our customers a true end-to-end portfolio</vt:lpstr>
      <vt:lpstr>PowerPoint Presentation</vt:lpstr>
      <vt:lpstr>Vitamins for animal performance Vitamins contribute to both well-being and performance. With more than 70 years’ experience, we offer the world’s largest portfolio of trusted animal nutrition products.  </vt:lpstr>
      <vt:lpstr>Enzymes unlock nutrient potential Our feed enzyme portfolio enhances the wellbeing and performance of livestock by unlocking nutrient potential  in feed and lower feed costs.</vt:lpstr>
      <vt:lpstr>Improve animal sustainability Our global sustainability service, Sustell™, allows farmers to measure their actual environmental footprint and identify the best possibilities to improve, and providing advice and practical solutions for implementation.  </vt:lpstr>
      <vt:lpstr>Performance Solutions toolkit for addressing challenges across all major species</vt:lpstr>
      <vt:lpstr>Purpose-driven  partnership  with Team DS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yal DSM</dc:title>
  <dc:creator>Csavajda, Zsolt</dc:creator>
  <cp:lastModifiedBy>Csavajda, Zsolt</cp:lastModifiedBy>
  <cp:revision>6</cp:revision>
  <cp:lastPrinted>2019-08-23T14:34:23Z</cp:lastPrinted>
  <dcterms:created xsi:type="dcterms:W3CDTF">2021-07-22T09:47:31Z</dcterms:created>
  <dcterms:modified xsi:type="dcterms:W3CDTF">2022-09-27T06:2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A74C667FAB384584FC1A459A032D0E</vt:lpwstr>
  </property>
  <property fmtid="{D5CDD505-2E9C-101B-9397-08002B2CF9AE}" pid="3" name="MSIP_Label_2ff753fd-faf2-4608-9b59-553f003adcdf_Enabled">
    <vt:lpwstr>true</vt:lpwstr>
  </property>
  <property fmtid="{D5CDD505-2E9C-101B-9397-08002B2CF9AE}" pid="4" name="MSIP_Label_2ff753fd-faf2-4608-9b59-553f003adcdf_SetDate">
    <vt:lpwstr>2022-01-06T18:28:09Z</vt:lpwstr>
  </property>
  <property fmtid="{D5CDD505-2E9C-101B-9397-08002B2CF9AE}" pid="5" name="MSIP_Label_2ff753fd-faf2-4608-9b59-553f003adcdf_Method">
    <vt:lpwstr>Privileged</vt:lpwstr>
  </property>
  <property fmtid="{D5CDD505-2E9C-101B-9397-08002B2CF9AE}" pid="6" name="MSIP_Label_2ff753fd-faf2-4608-9b59-553f003adcdf_Name">
    <vt:lpwstr>2ff753fd-faf2-4608-9b59-553f003adcdf</vt:lpwstr>
  </property>
  <property fmtid="{D5CDD505-2E9C-101B-9397-08002B2CF9AE}" pid="7" name="MSIP_Label_2ff753fd-faf2-4608-9b59-553f003adcdf_SiteId">
    <vt:lpwstr>49618402-6ea3-441d-957d-7df8773fee54</vt:lpwstr>
  </property>
  <property fmtid="{D5CDD505-2E9C-101B-9397-08002B2CF9AE}" pid="8" name="MSIP_Label_2ff753fd-faf2-4608-9b59-553f003adcdf_ActionId">
    <vt:lpwstr>5532f2de-e0bd-49da-86ef-7960ae37afc6</vt:lpwstr>
  </property>
  <property fmtid="{D5CDD505-2E9C-101B-9397-08002B2CF9AE}" pid="9" name="MSIP_Label_2ff753fd-faf2-4608-9b59-553f003adcdf_ContentBits">
    <vt:lpwstr>0</vt:lpwstr>
  </property>
  <property fmtid="{D5CDD505-2E9C-101B-9397-08002B2CF9AE}" pid="10" name="MediaServiceImageTags">
    <vt:lpwstr/>
  </property>
</Properties>
</file>